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2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5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theme/theme7.xml" ContentType="application/vnd.openxmlformats-officedocument.theme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theme/theme8.xml" ContentType="application/vnd.openxmlformats-officedocument.theme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theme/theme9.xml" ContentType="application/vnd.openxmlformats-officedocument.theme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26" r:id="rId5"/>
    <p:sldMasterId id="2147483747" r:id="rId6"/>
    <p:sldMasterId id="2147483810" r:id="rId7"/>
    <p:sldMasterId id="2147483876" r:id="rId8"/>
    <p:sldMasterId id="2147483887" r:id="rId9"/>
    <p:sldMasterId id="2147483959" r:id="rId10"/>
    <p:sldMasterId id="2147484087" r:id="rId11"/>
    <p:sldMasterId id="2147484099" r:id="rId12"/>
    <p:sldMasterId id="2147484114" r:id="rId13"/>
  </p:sldMasterIdLst>
  <p:notesMasterIdLst>
    <p:notesMasterId r:id="rId30"/>
  </p:notesMasterIdLst>
  <p:sldIdLst>
    <p:sldId id="289" r:id="rId14"/>
    <p:sldId id="6028" r:id="rId15"/>
    <p:sldId id="6027" r:id="rId16"/>
    <p:sldId id="6014" r:id="rId17"/>
    <p:sldId id="6025" r:id="rId18"/>
    <p:sldId id="6024" r:id="rId19"/>
    <p:sldId id="6023" r:id="rId20"/>
    <p:sldId id="6022" r:id="rId21"/>
    <p:sldId id="6021" r:id="rId22"/>
    <p:sldId id="6020" r:id="rId23"/>
    <p:sldId id="6019" r:id="rId24"/>
    <p:sldId id="6018" r:id="rId25"/>
    <p:sldId id="6017" r:id="rId26"/>
    <p:sldId id="6016" r:id="rId27"/>
    <p:sldId id="6015" r:id="rId28"/>
    <p:sldId id="325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DF9493D-A4D8-9B48-CD8E-398124593EBD}" name="Wei Jing TEY" initials="WJT" userId="S::weijing.tey@kereval.com::38449325-11be-4fce-8612-3a6e80ad0dab" providerId="AD"/>
  <p188:author id="{A24C1877-3A4A-154E-FF9A-B41670159077}" name="HERMANS Alexander (DIGIT-EXT)" initials="H(" userId="S::alexander.hermans@ext.ec.europa.eu::7c993837-a87c-46e7-9cfc-1c23ec9b69ac" providerId="AD"/>
  <p188:author id="{FAAA21AF-12C0-2EC7-2FDF-9F92F76631C0}" name="DIMITRIOU Jerry (DIGIT-EXT)" initials="DJ(E" userId="DIMITRIOU Jerry (DIGIT-EXT)" providerId="None"/>
  <p188:author id="{DA2D7CD7-D327-543F-8F61-DAEFF9360C7D}" name="HERMANS Alexander (DIGIT-EXT)" initials="HA(E" userId="HERMANS Alexander (DIGIT-EXT)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84A"/>
    <a:srgbClr val="FBC11D"/>
    <a:srgbClr val="004494"/>
    <a:srgbClr val="842DB5"/>
    <a:srgbClr val="D0DAEA"/>
    <a:srgbClr val="E9EDF5"/>
    <a:srgbClr val="003C8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14AC0F-FDCA-42B5-B5A6-E47C3A80351B}" v="32" dt="2023-04-12T09:41:56.226"/>
    <p1510:client id="{87995E58-58CC-4800-923D-57C5CEBCB92D}" v="237" dt="2023-04-12T11:25:39.291"/>
    <p1510:client id="{BC75E77A-66A3-4E7C-B867-4F49470014C1}" v="1" dt="2023-04-12T12:34:32.142"/>
    <p1510:client id="{CF014272-EB52-40AF-B55C-7C7818C53FD7}" v="339" dt="2023-04-12T10:02:19.2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21" Type="http://schemas.openxmlformats.org/officeDocument/2006/relationships/slide" Target="slides/slide8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viewProps" Target="viewProps.xml"/><Relationship Id="rId37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microsoft.com/office/2015/10/relationships/revisionInfo" Target="revisionInfo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notesMaster" Target="notesMasters/notesMaster1.xml"/><Relationship Id="rId35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ošec Michal" userId="S::michal.janosec_autocont.cz#ext#@eceuropaeu.onmicrosoft.com::f003a980-2871-4d3c-98ba-6af79020b25a" providerId="AD" clId="Web-{BC75E77A-66A3-4E7C-B867-4F49470014C1}"/>
    <pc:docChg chg="delSld">
      <pc:chgData name="Janošec Michal" userId="S::michal.janosec_autocont.cz#ext#@eceuropaeu.onmicrosoft.com::f003a980-2871-4d3c-98ba-6af79020b25a" providerId="AD" clId="Web-{BC75E77A-66A3-4E7C-B867-4F49470014C1}" dt="2023-04-12T12:34:32.142" v="0"/>
      <pc:docMkLst>
        <pc:docMk/>
      </pc:docMkLst>
      <pc:sldChg chg="del">
        <pc:chgData name="Janošec Michal" userId="S::michal.janosec_autocont.cz#ext#@eceuropaeu.onmicrosoft.com::f003a980-2871-4d3c-98ba-6af79020b25a" providerId="AD" clId="Web-{BC75E77A-66A3-4E7C-B867-4F49470014C1}" dt="2023-04-12T12:34:32.142" v="0"/>
        <pc:sldMkLst>
          <pc:docMk/>
          <pc:sldMk cId="2752945779" sldId="6031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5CB86D-4378-43BD-B601-B61A644ECF3C}" type="datetimeFigureOut">
              <a:rPr lang="en-GB" smtClean="0"/>
              <a:t>12/04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14D596-55FE-462E-BA89-1D5807C2E7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22273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55318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61244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63691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6324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3921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96003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40747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60696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32414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61878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16344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61782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77164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C98B0-CF1C-4133-97B9-74724C03405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045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7.png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7.png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7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0882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245451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649938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4946054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00424104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6744140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59522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3618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561926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248122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53431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0488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238455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84861877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459345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62119277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11374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543453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07275265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1896543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779882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991547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3367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6235430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503241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562392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335561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217847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</a:t>
            </a:r>
            <a:r>
              <a:rPr err="1"/>
              <a:t>amet</a:t>
            </a:r>
            <a:r>
              <a:t>, </a:t>
            </a:r>
            <a:r>
              <a:rPr err="1"/>
              <a:t>consectetur</a:t>
            </a:r>
            <a:r>
              <a:t> </a:t>
            </a:r>
            <a:r>
              <a:rPr err="1"/>
              <a:t>adipiscing</a:t>
            </a:r>
            <a:r>
              <a:t> </a:t>
            </a:r>
            <a:r>
              <a:rPr err="1"/>
              <a:t>elit</a:t>
            </a:r>
            <a:r>
              <a:t>, </a:t>
            </a:r>
            <a:r>
              <a:rPr err="1"/>
              <a:t>sed</a:t>
            </a:r>
            <a:r>
              <a:t> do </a:t>
            </a:r>
            <a:r>
              <a:rPr err="1"/>
              <a:t>eiusmod</a:t>
            </a:r>
            <a:r>
              <a:t> </a:t>
            </a:r>
            <a:r>
              <a:rPr err="1"/>
              <a:t>tempor</a:t>
            </a:r>
            <a:r>
              <a:t> </a:t>
            </a:r>
            <a:r>
              <a:rPr err="1"/>
              <a:t>incididunt</a:t>
            </a:r>
            <a:r>
              <a:t> </a:t>
            </a:r>
            <a:r>
              <a:rPr err="1"/>
              <a:t>ut</a:t>
            </a:r>
            <a:r>
              <a:t> </a:t>
            </a:r>
            <a:r>
              <a:rPr err="1"/>
              <a:t>labore</a:t>
            </a:r>
            <a:r>
              <a:t> et </a:t>
            </a:r>
            <a:r>
              <a:rPr err="1"/>
              <a:t>dolore</a:t>
            </a:r>
            <a:r>
              <a:t> magna </a:t>
            </a:r>
            <a:r>
              <a:rPr err="1"/>
              <a:t>aliqua</a:t>
            </a:r>
            <a:r>
              <a:t>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326907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540073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91814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9508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202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948963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9091" y="4337222"/>
            <a:ext cx="10366489" cy="13592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3" hasCustomPrompt="1"/>
          </p:nvPr>
        </p:nvSpPr>
        <p:spPr>
          <a:xfrm>
            <a:off x="89909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4" hasCustomPrompt="1"/>
          </p:nvPr>
        </p:nvSpPr>
        <p:spPr>
          <a:xfrm>
            <a:off x="3595082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45" hasCustomPrompt="1"/>
          </p:nvPr>
        </p:nvSpPr>
        <p:spPr>
          <a:xfrm>
            <a:off x="627202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46" hasCustomPrompt="1"/>
          </p:nvPr>
        </p:nvSpPr>
        <p:spPr>
          <a:xfrm>
            <a:off x="8948963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21334" y="206236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98274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0992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50" hasCustomPrompt="1"/>
          </p:nvPr>
        </p:nvSpPr>
        <p:spPr>
          <a:xfrm>
            <a:off x="9152155" y="207465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21334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94790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73471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54" hasCustomPrompt="1"/>
          </p:nvPr>
        </p:nvSpPr>
        <p:spPr>
          <a:xfrm>
            <a:off x="9152155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55" hasCustomPrompt="1"/>
          </p:nvPr>
        </p:nvSpPr>
        <p:spPr>
          <a:xfrm>
            <a:off x="1121334" y="4582543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21334" y="5040701"/>
            <a:ext cx="9841705" cy="345856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213183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183458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561844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1428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340144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538859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737575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9362903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134353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333069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531784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730500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9292155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134353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33069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531784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730500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9292155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1581763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953038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3568917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555607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7543226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426892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9171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80027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240331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0155138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45390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52589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966080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78296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741860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629057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5176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31490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440634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732421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693780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57132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917905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07870585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865"/>
            <a:ext cx="1716200" cy="45054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736717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39753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70B7A2-124B-154F-B691-E004F68B59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F8DBEA1-9380-9C40-A999-4C3BECB2BB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35126" y="1786270"/>
            <a:ext cx="8314660" cy="183943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37106695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53762" y="1575486"/>
            <a:ext cx="10600038" cy="42754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/>
            </a:lvl1pPr>
            <a:lvl2pPr marL="457200" indent="0">
              <a:lnSpc>
                <a:spcPct val="120000"/>
              </a:lnSpc>
              <a:buNone/>
              <a:defRPr/>
            </a:lvl2pPr>
            <a:lvl3pPr marL="914400" indent="0">
              <a:lnSpc>
                <a:spcPct val="120000"/>
              </a:lnSpc>
              <a:buNone/>
              <a:defRPr/>
            </a:lvl3pPr>
            <a:lvl4pPr marL="1371600" indent="0">
              <a:lnSpc>
                <a:spcPct val="120000"/>
              </a:lnSpc>
              <a:buNone/>
              <a:defRPr/>
            </a:lvl4pPr>
            <a:lvl5pPr marL="1828800" indent="0">
              <a:lnSpc>
                <a:spcPct val="120000"/>
              </a:lnSpc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711929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29598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229052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1803157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43110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749301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913579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638709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9" y="2042788"/>
            <a:ext cx="2085830" cy="1066822"/>
          </a:xfrm>
          <a:blipFill>
            <a:blip r:embed="rId3"/>
            <a:srcRect/>
            <a:stretch>
              <a:fillRect r="-124962"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723144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004120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9254469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1348743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436255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0724199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8664792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0396366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864654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591824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049576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43087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120655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6676036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6794195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3594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65275097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208038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002184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21337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567946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481677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50673794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4751469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62767808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29216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59487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7554586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67815514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48852298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134744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334062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276291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277576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891357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290866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66073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amet, consectetur adipiscing elit, sed do eiusmod tempor incididunt ut labore et dolore magna aliqua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64996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86019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137594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899091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70980" y="466939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9019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35355" y="1552965"/>
            <a:ext cx="10366489" cy="761569"/>
          </a:xfrm>
          <a:prstGeom prst="rect">
            <a:avLst/>
          </a:prstGeom>
          <a:noFill/>
          <a:ln w="571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02283" y="487059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74172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7989" y="488647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02283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70688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80468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90464" y="1691324"/>
            <a:ext cx="9841705" cy="632674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 userDrawn="1"/>
        </p:nvSpPr>
        <p:spPr>
          <a:xfrm>
            <a:off x="8985227" y="466939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58" hasCustomPrompt="1"/>
          </p:nvPr>
        </p:nvSpPr>
        <p:spPr>
          <a:xfrm>
            <a:off x="9194197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7"/>
          <p:cNvSpPr>
            <a:spLocks noGrp="1"/>
          </p:cNvSpPr>
          <p:nvPr>
            <p:ph type="body" sz="quarter" idx="59" hasCustomPrompt="1"/>
          </p:nvPr>
        </p:nvSpPr>
        <p:spPr>
          <a:xfrm>
            <a:off x="9186676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40" name="Rectangle 39"/>
          <p:cNvSpPr/>
          <p:nvPr userDrawn="1"/>
        </p:nvSpPr>
        <p:spPr>
          <a:xfrm>
            <a:off x="906209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3578098" y="260843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6286137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6" name="Text Placeholder 17"/>
          <p:cNvSpPr>
            <a:spLocks noGrp="1"/>
          </p:cNvSpPr>
          <p:nvPr>
            <p:ph type="body" sz="quarter" idx="63" hasCustomPrompt="1"/>
          </p:nvPr>
        </p:nvSpPr>
        <p:spPr>
          <a:xfrm>
            <a:off x="1109401" y="280963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64" hasCustomPrompt="1"/>
          </p:nvPr>
        </p:nvSpPr>
        <p:spPr>
          <a:xfrm>
            <a:off x="3781290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8" name="Text Placeholder 17"/>
          <p:cNvSpPr>
            <a:spLocks noGrp="1"/>
          </p:cNvSpPr>
          <p:nvPr>
            <p:ph type="body" sz="quarter" idx="65" hasCustomPrompt="1"/>
          </p:nvPr>
        </p:nvSpPr>
        <p:spPr>
          <a:xfrm>
            <a:off x="6495107" y="282551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7"/>
          <p:cNvSpPr>
            <a:spLocks noGrp="1"/>
          </p:cNvSpPr>
          <p:nvPr>
            <p:ph type="body" sz="quarter" idx="66" hasCustomPrompt="1"/>
          </p:nvPr>
        </p:nvSpPr>
        <p:spPr>
          <a:xfrm>
            <a:off x="1109401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0" name="Text Placeholder 27"/>
          <p:cNvSpPr>
            <a:spLocks noGrp="1"/>
          </p:cNvSpPr>
          <p:nvPr>
            <p:ph type="body" sz="quarter" idx="67" hasCustomPrompt="1"/>
          </p:nvPr>
        </p:nvSpPr>
        <p:spPr>
          <a:xfrm>
            <a:off x="3777806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1" name="Text Placeholder 27"/>
          <p:cNvSpPr>
            <a:spLocks noGrp="1"/>
          </p:cNvSpPr>
          <p:nvPr>
            <p:ph type="body" sz="quarter" idx="68" hasCustomPrompt="1"/>
          </p:nvPr>
        </p:nvSpPr>
        <p:spPr>
          <a:xfrm>
            <a:off x="6487586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2" name="Rectangle 51"/>
          <p:cNvSpPr/>
          <p:nvPr userDrawn="1"/>
        </p:nvSpPr>
        <p:spPr>
          <a:xfrm>
            <a:off x="8992345" y="260843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4" name="Text Placeholder 17"/>
          <p:cNvSpPr>
            <a:spLocks noGrp="1"/>
          </p:cNvSpPr>
          <p:nvPr>
            <p:ph type="body" sz="quarter" idx="70" hasCustomPrompt="1"/>
          </p:nvPr>
        </p:nvSpPr>
        <p:spPr>
          <a:xfrm>
            <a:off x="9201315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5" name="Text Placeholder 27"/>
          <p:cNvSpPr>
            <a:spLocks noGrp="1"/>
          </p:cNvSpPr>
          <p:nvPr>
            <p:ph type="body" sz="quarter" idx="71" hasCustomPrompt="1"/>
          </p:nvPr>
        </p:nvSpPr>
        <p:spPr>
          <a:xfrm>
            <a:off x="9193794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0363930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540845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158429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446091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2433246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4420401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6407556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8394709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375343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2362498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4349653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6336808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8323961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375343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2362498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4349653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6336808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8323961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613569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8562187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2600723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4587877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6575032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10381864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36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10311116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10311116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8" name="Text Placeholder 12"/>
          <p:cNvSpPr>
            <a:spLocks noGrp="1"/>
          </p:cNvSpPr>
          <p:nvPr>
            <p:ph type="body" sz="quarter" idx="72" hasCustomPrompt="1"/>
          </p:nvPr>
        </p:nvSpPr>
        <p:spPr>
          <a:xfrm>
            <a:off x="10549342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4826183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661562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260395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8875602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43522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542353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97586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1355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934386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000333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656296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419424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513685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450904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308640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819807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127144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921388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5521138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056107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048378ED-01C4-411D-A3F8-333DC5324A48}" type="datetime1">
              <a:rPr lang="en-US" smtClean="0"/>
              <a:t>4/1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2AD3567-3978-4891-9C54-4B2011A71FB4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838201" y="1265167"/>
            <a:ext cx="1292525" cy="1"/>
          </a:xfrm>
          <a:prstGeom prst="line">
            <a:avLst/>
          </a:prstGeom>
          <a:ln w="28575">
            <a:solidFill>
              <a:srgbClr val="F4CF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933273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3146226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rase Grande">
    <p:bg>
      <p:bgPr>
        <a:solidFill>
          <a:srgbClr val="E9EB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Número do diapositivo"/>
          <p:cNvSpPr txBox="1">
            <a:spLocks noGrp="1"/>
          </p:cNvSpPr>
          <p:nvPr>
            <p:ph type="sldNum" sz="quarter" idx="2"/>
          </p:nvPr>
        </p:nvSpPr>
        <p:spPr>
          <a:xfrm>
            <a:off x="11791258" y="6504064"/>
            <a:ext cx="222236" cy="219243"/>
          </a:xfrm>
          <a:prstGeom prst="rect">
            <a:avLst/>
          </a:prstGeom>
        </p:spPr>
        <p:txBody>
          <a:bodyPr lIns="35701" tIns="35701" rIns="35701" bIns="35701" anchor="b"/>
          <a:lstStyle>
            <a:lvl1pPr algn="r" defTabSz="146047">
              <a:defRPr sz="800" b="1">
                <a:solidFill>
                  <a:srgbClr val="FFFFFF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90" name="Frases slides ponte,…"/>
          <p:cNvSpPr txBox="1">
            <a:spLocks noGrp="1"/>
          </p:cNvSpPr>
          <p:nvPr>
            <p:ph type="body" sz="half" idx="13"/>
          </p:nvPr>
        </p:nvSpPr>
        <p:spPr>
          <a:xfrm>
            <a:off x="0" y="2307054"/>
            <a:ext cx="12192000" cy="5155257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 defTabSz="2438339">
              <a:lnSpc>
                <a:spcPts val="17866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sym typeface="Futura LT Book"/>
              </a:defRPr>
            </a:lvl1pPr>
          </a:lstStyle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rases slides ponte, 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undo neutro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rPr>
                <a:solidFill>
                  <a:schemeClr val="accent5">
                    <a:hueOff val="-82419"/>
                    <a:satOff val="-9513"/>
                    <a:lumOff val="-16343"/>
                  </a:schemeClr>
                </a:solidFill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429372986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95DD4-FBA3-BD43-A5C4-5318D91B7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BCA56D-4DB0-6546-8CF3-E826719022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7EC2A8-2E88-0E4D-8860-73186CB01C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FD3471-51AB-6241-8477-85403BB7E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3A7C2-FC1D-4CAA-8724-50C9007A397E}" type="datetime1">
              <a:rPr lang="en-US" smtClean="0"/>
              <a:t>4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F457A6-DB40-9743-96E9-5F4C07BF94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75DDDF-E3F8-EF40-A82B-14D2A8AAF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AB4622-4A36-9A4C-B598-C6DF12CB0A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07371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091351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816331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38200" y="1575486"/>
            <a:ext cx="10515600" cy="4275437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87350796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53762" y="1575486"/>
            <a:ext cx="10600038" cy="42754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/>
            </a:lvl1pPr>
            <a:lvl2pPr marL="457200" indent="0">
              <a:lnSpc>
                <a:spcPct val="120000"/>
              </a:lnSpc>
              <a:buNone/>
              <a:defRPr/>
            </a:lvl2pPr>
            <a:lvl3pPr marL="914400" indent="0">
              <a:lnSpc>
                <a:spcPct val="120000"/>
              </a:lnSpc>
              <a:buNone/>
              <a:defRPr/>
            </a:lvl3pPr>
            <a:lvl4pPr marL="1371600" indent="0">
              <a:lnSpc>
                <a:spcPct val="120000"/>
              </a:lnSpc>
              <a:buNone/>
              <a:defRPr/>
            </a:lvl4pPr>
            <a:lvl5pPr marL="1828800" indent="0">
              <a:lnSpc>
                <a:spcPct val="120000"/>
              </a:lnSpc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03554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7256700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-dar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04933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164184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063583" y="2961087"/>
            <a:ext cx="4692321" cy="60219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63583" y="3712535"/>
            <a:ext cx="4670541" cy="2354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85800" y="-16852"/>
            <a:ext cx="0" cy="3964836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109970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205015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891613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5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4990307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 cstate="screen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338579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46309140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3"/>
            <a:ext cx="3450220" cy="782281"/>
          </a:xfrm>
        </p:spPr>
        <p:txBody>
          <a:bodyPr>
            <a:noAutofit/>
          </a:bodyPr>
          <a:lstStyle>
            <a:lvl1pPr>
              <a:defRPr sz="270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8994" y="3180785"/>
            <a:ext cx="3449426" cy="11655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2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8110018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681684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811211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3966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826800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973169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80572350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2344846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404350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8229355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858112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809781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98772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47086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7685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919133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1333345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67347526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628049131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13966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135189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693715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7094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36460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6286868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7173923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4206471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82586675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85992622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531240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3760001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50796090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33229871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15801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138232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4231818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13786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1662069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173007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1378641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01124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</a:t>
            </a:r>
            <a:r>
              <a:rPr err="1"/>
              <a:t>amet</a:t>
            </a:r>
            <a:r>
              <a:t>, </a:t>
            </a:r>
            <a:r>
              <a:rPr err="1"/>
              <a:t>consectetur</a:t>
            </a:r>
            <a:r>
              <a:t> </a:t>
            </a:r>
            <a:r>
              <a:rPr err="1"/>
              <a:t>adipiscing</a:t>
            </a:r>
            <a:r>
              <a:t> </a:t>
            </a:r>
            <a:r>
              <a:rPr err="1"/>
              <a:t>elit</a:t>
            </a:r>
            <a:r>
              <a:t>, </a:t>
            </a:r>
            <a:r>
              <a:rPr err="1"/>
              <a:t>sed</a:t>
            </a:r>
            <a:r>
              <a:t> do </a:t>
            </a:r>
            <a:r>
              <a:rPr err="1"/>
              <a:t>eiusmod</a:t>
            </a:r>
            <a:r>
              <a:t> </a:t>
            </a:r>
            <a:r>
              <a:rPr err="1"/>
              <a:t>tempor</a:t>
            </a:r>
            <a:r>
              <a:t> </a:t>
            </a:r>
            <a:r>
              <a:rPr err="1"/>
              <a:t>incididunt</a:t>
            </a:r>
            <a:r>
              <a:t> </a:t>
            </a:r>
            <a:r>
              <a:rPr err="1"/>
              <a:t>ut</a:t>
            </a:r>
            <a:r>
              <a:t> </a:t>
            </a:r>
            <a:r>
              <a:rPr err="1"/>
              <a:t>labore</a:t>
            </a:r>
            <a:r>
              <a:t> et </a:t>
            </a:r>
            <a:r>
              <a:rPr err="1"/>
              <a:t>dolore</a:t>
            </a:r>
            <a:r>
              <a:t> magna </a:t>
            </a:r>
            <a:r>
              <a:rPr err="1"/>
              <a:t>aliqua</a:t>
            </a:r>
            <a:r>
              <a:t>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499572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50048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91814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9508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202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948963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9091" y="4337222"/>
            <a:ext cx="10366489" cy="13592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3" hasCustomPrompt="1"/>
          </p:nvPr>
        </p:nvSpPr>
        <p:spPr>
          <a:xfrm>
            <a:off x="89909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4" hasCustomPrompt="1"/>
          </p:nvPr>
        </p:nvSpPr>
        <p:spPr>
          <a:xfrm>
            <a:off x="3595082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45" hasCustomPrompt="1"/>
          </p:nvPr>
        </p:nvSpPr>
        <p:spPr>
          <a:xfrm>
            <a:off x="627202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46" hasCustomPrompt="1"/>
          </p:nvPr>
        </p:nvSpPr>
        <p:spPr>
          <a:xfrm>
            <a:off x="8948963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21334" y="206236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98274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0992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50" hasCustomPrompt="1"/>
          </p:nvPr>
        </p:nvSpPr>
        <p:spPr>
          <a:xfrm>
            <a:off x="9152155" y="207465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21334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94790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73471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54" hasCustomPrompt="1"/>
          </p:nvPr>
        </p:nvSpPr>
        <p:spPr>
          <a:xfrm>
            <a:off x="9152155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55" hasCustomPrompt="1"/>
          </p:nvPr>
        </p:nvSpPr>
        <p:spPr>
          <a:xfrm>
            <a:off x="1121334" y="4582543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21334" y="5040701"/>
            <a:ext cx="9841705" cy="345856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92989948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379859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561844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1428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340144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538859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737575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9362903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134353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333069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531784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730500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9292155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134353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33069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531784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730500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9292155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1581763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953038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3568917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555607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7543226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946111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23083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30881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00077072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1640940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81166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402951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087601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2181169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787035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654390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10363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514945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54481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263554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108416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146718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03477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27615305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1965750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38200" y="1575486"/>
            <a:ext cx="10515600" cy="4275437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lnSpc>
                <a:spcPct val="120000"/>
              </a:lnSpc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80328265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865"/>
            <a:ext cx="1716200" cy="45054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3481628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417076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182066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-dar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71508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0202215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504843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79776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561214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586528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82936085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56676201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4707378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371515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6469665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724916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38479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78659656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7559924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025245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062572" y="-1398588"/>
            <a:ext cx="9697075" cy="7543801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440426" y="180816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0913423" y="180816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440426" y="2376199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0913423" y="2376199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40426" y="2944235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0913423" y="2944235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440426" y="3512271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0913423" y="3512271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440426" y="4080307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0913423" y="4080307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440426" y="4648343"/>
            <a:ext cx="4472997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0913423" y="4648343"/>
            <a:ext cx="440377" cy="329104"/>
          </a:xfrm>
        </p:spPr>
        <p:txBody>
          <a:bodyPr lIns="0" tIns="0" rIns="0" bIns="0" anchor="b">
            <a:normAutofit/>
          </a:bodyPr>
          <a:lstStyle>
            <a:lvl1pPr marL="0" indent="0" algn="r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40426" y="213726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6440426" y="2714908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>
          <a:xfrm>
            <a:off x="6440426" y="3273339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>
          <a:xfrm>
            <a:off x="6440426" y="3858896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6440426" y="4409411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6440426" y="4977447"/>
            <a:ext cx="491337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1535934" y="0"/>
            <a:ext cx="0" cy="1052513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8429318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5527464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16399" y="2150883"/>
            <a:ext cx="1359200" cy="67252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5370512" y="2218135"/>
            <a:ext cx="1450975" cy="970868"/>
          </a:xfr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94518456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3429000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2062348" y="3650502"/>
            <a:ext cx="8067301" cy="602832"/>
          </a:xfrm>
        </p:spPr>
        <p:txBody>
          <a:bodyPr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62348" y="4335842"/>
            <a:ext cx="8067301" cy="309348"/>
          </a:xfrm>
        </p:spPr>
        <p:txBody>
          <a:bodyPr>
            <a:noAutofit/>
          </a:bodyPr>
          <a:lstStyle>
            <a:lvl1pPr marL="0" indent="0" algn="ctr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-85690" y="3432305"/>
            <a:ext cx="12363381" cy="6456"/>
          </a:xfrm>
          <a:solidFill>
            <a:schemeClr val="bg1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716677688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8199" y="2161641"/>
            <a:ext cx="1450975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4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28893"/>
            <a:ext cx="1450975" cy="970868"/>
          </a:xfrm>
        </p:spPr>
        <p:txBody>
          <a:bodyPr>
            <a:noAutofit/>
          </a:bodyPr>
          <a:lstStyle>
            <a:lvl1pPr marL="0" indent="0" algn="l">
              <a:buNone/>
              <a:defRPr sz="8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#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3661260"/>
            <a:ext cx="3583193" cy="602832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44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Chapter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4346600"/>
            <a:ext cx="3583193" cy="309348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250723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986675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162793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932606" y="1825301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162793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932606" y="3730568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162793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2162793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932606" y="2355326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6932606" y="4260593"/>
            <a:ext cx="367158" cy="45719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62793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62793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932606" y="4381033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932606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62793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62793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932606" y="471130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932606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966802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35"/>
          <p:cNvGrpSpPr/>
          <p:nvPr userDrawn="1"/>
        </p:nvGrpSpPr>
        <p:grpSpPr>
          <a:xfrm>
            <a:off x="-3" y="4106411"/>
            <a:ext cx="12192006" cy="2751594"/>
            <a:chOff x="-1" y="-1"/>
            <a:chExt cx="12192005" cy="2751592"/>
          </a:xfrm>
        </p:grpSpPr>
        <p:sp>
          <p:nvSpPr>
            <p:cNvPr id="44" name="Freeform 9"/>
            <p:cNvSpPr/>
            <p:nvPr/>
          </p:nvSpPr>
          <p:spPr>
            <a:xfrm>
              <a:off x="-2" y="-2"/>
              <a:ext cx="12192007" cy="11779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45" name="Rectangle 68"/>
            <p:cNvSpPr/>
            <p:nvPr/>
          </p:nvSpPr>
          <p:spPr>
            <a:xfrm>
              <a:off x="-2" y="1172442"/>
              <a:ext cx="12192006" cy="1579150"/>
            </a:xfrm>
            <a:prstGeom prst="rect">
              <a:avLst/>
            </a:prstGeom>
            <a:solidFill>
              <a:srgbClr val="F2F2F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10105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2110105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6879917" y="4504858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6879917" y="2477654"/>
            <a:ext cx="3605707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10105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2110105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6879917" y="4835134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6879917" y="2798919"/>
            <a:ext cx="3605707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25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2110105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6879917" y="1809639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2110105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6879917" y="3842754"/>
            <a:ext cx="472533" cy="472533"/>
          </a:xfrm>
          <a:prstGeom prst="ellipse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1452652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8350250" y="0"/>
            <a:ext cx="3841750" cy="6858000"/>
          </a:xfrm>
          <a:solidFill>
            <a:schemeClr val="accent6"/>
          </a:solidFill>
        </p:spPr>
        <p:txBody>
          <a:bodyPr/>
          <a:lstStyle>
            <a:lvl1pPr>
              <a:defRPr/>
            </a:lvl1pPr>
          </a:lstStyle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9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705252" y="1808163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9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705252" y="3713430"/>
            <a:ext cx="367158" cy="530025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4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839789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9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4705252" y="2338188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705252" y="4243455"/>
            <a:ext cx="367158" cy="53645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9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31" hasCustomPrompt="1"/>
          </p:nvPr>
        </p:nvSpPr>
        <p:spPr>
          <a:xfrm>
            <a:off x="839789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32" hasCustomPrompt="1"/>
          </p:nvPr>
        </p:nvSpPr>
        <p:spPr>
          <a:xfrm>
            <a:off x="4705252" y="4363895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705252" y="2460516"/>
            <a:ext cx="3403768" cy="30934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9789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839789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705252" y="469417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4705252" y="2781781"/>
            <a:ext cx="3403768" cy="801398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726972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727082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53534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979563283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g1_com_linhas (1).png" descr="img1_com_linhas (1).png"/>
          <p:cNvPicPr>
            <a:picLocks noChangeAspect="1"/>
          </p:cNvPicPr>
          <p:nvPr userDrawn="1"/>
        </p:nvPicPr>
        <p:blipFill>
          <a:blip r:embed="rId2"/>
          <a:srcRect l="50407"/>
          <a:stretch>
            <a:fillRect/>
          </a:stretch>
        </p:blipFill>
        <p:spPr>
          <a:xfrm>
            <a:off x="5959694" y="-158472"/>
            <a:ext cx="6046385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059516"/>
            <a:ext cx="6085114" cy="553165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923360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1000" noProof="0"/>
              <a:t> </a:t>
            </a:r>
            <a:endParaRPr lang="en-US" noProof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421587"/>
            <a:ext cx="4849167" cy="2125104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  <a:p>
            <a:pPr marL="228600" indent="-228600" defTabSz="412750">
              <a:lnSpc>
                <a:spcPct val="140000"/>
              </a:lnSpc>
              <a:buSzPct val="100000"/>
              <a:buAutoNum type="arabicPeriod"/>
              <a:defRPr sz="12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65299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 descr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808" y="1276346"/>
            <a:ext cx="11083636" cy="465423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itle 5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366884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014800"/>
            <a:ext cx="697484" cy="55580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596043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3601429"/>
            <a:ext cx="4849167" cy="90125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38199" y="2624415"/>
            <a:ext cx="4849167" cy="347472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3265002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66172011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>
                <a:latin typeface="EC Square Sans Pro" panose="020B0506040000020004" pitchFamily="34" charset="0"/>
              </a:rPr>
              <a:t>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933241" y="2978374"/>
            <a:ext cx="1032551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is text box can be used to write an inspiring phrase and the colored shapes can be used to underline the key message.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626847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8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38200" y="2978374"/>
            <a:ext cx="3864429" cy="901252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his</a:t>
            </a:r>
            <a:r>
              <a:rPr lang="pt-PT"/>
              <a:t> </a:t>
            </a:r>
            <a:r>
              <a:rPr lang="pt-PT" err="1"/>
              <a:t>text</a:t>
            </a:r>
            <a:r>
              <a:rPr lang="pt-PT"/>
              <a:t> box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write</a:t>
            </a:r>
            <a:r>
              <a:rPr lang="pt-PT"/>
              <a:t> </a:t>
            </a:r>
            <a:r>
              <a:rPr lang="pt-PT" err="1"/>
              <a:t>an</a:t>
            </a:r>
            <a:r>
              <a:rPr lang="pt-PT"/>
              <a:t> </a:t>
            </a:r>
            <a:r>
              <a:rPr lang="pt-PT" err="1"/>
              <a:t>inpiring</a:t>
            </a:r>
            <a:r>
              <a:rPr lang="pt-PT"/>
              <a:t> </a:t>
            </a:r>
            <a:r>
              <a:rPr lang="pt-PT" err="1"/>
              <a:t>phras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colors</a:t>
            </a:r>
            <a:r>
              <a:rPr lang="pt-PT"/>
              <a:t> can </a:t>
            </a:r>
            <a:r>
              <a:rPr lang="pt-PT" err="1"/>
              <a:t>be</a:t>
            </a:r>
            <a:r>
              <a:rPr lang="pt-PT"/>
              <a:t> </a:t>
            </a:r>
            <a:r>
              <a:rPr lang="pt-PT" err="1"/>
              <a:t>used</a:t>
            </a:r>
            <a:r>
              <a:rPr lang="pt-PT"/>
              <a:t> to </a:t>
            </a:r>
            <a:r>
              <a:rPr lang="pt-PT" err="1"/>
              <a:t>highlight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key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PT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61621"/>
            <a:ext cx="697484" cy="67252"/>
          </a:xfrm>
          <a:solidFill>
            <a:schemeClr val="bg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47869486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1307167" y="867569"/>
            <a:ext cx="9577666" cy="5122863"/>
          </a:xfrm>
        </p:spPr>
        <p:txBody>
          <a:bodyPr anchor="ctr">
            <a:normAutofit/>
          </a:bodyPr>
          <a:lstStyle>
            <a:lvl1pPr marL="0" indent="0">
              <a:buNone/>
              <a:defRPr sz="7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Make</a:t>
            </a:r>
            <a:r>
              <a:rPr lang="pt-PT"/>
              <a:t> a short </a:t>
            </a:r>
            <a:r>
              <a:rPr lang="pt-PT" err="1"/>
              <a:t>statement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highlight</a:t>
            </a:r>
            <a:r>
              <a:rPr lang="pt-PT"/>
              <a:t> some </a:t>
            </a:r>
            <a:r>
              <a:rPr lang="pt-PT" err="1"/>
              <a:t>words</a:t>
            </a:r>
            <a:r>
              <a:rPr lang="pt-PT"/>
              <a:t>.</a:t>
            </a:r>
          </a:p>
        </p:txBody>
      </p:sp>
      <p:cxnSp>
        <p:nvCxnSpPr>
          <p:cNvPr id="5" name="Straight Connector 11">
            <a:extLst>
              <a:ext uri="{FF2B5EF4-FFF2-40B4-BE49-F238E27FC236}">
                <a16:creationId xmlns:a16="http://schemas.microsoft.com/office/drawing/2014/main" id="{057275A2-4FF5-5841-8990-4634922B02DB}"/>
              </a:ext>
            </a:extLst>
          </p:cNvPr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045236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0">
    <p:bg>
      <p:bgPr>
        <a:blipFill dpi="0" rotWithShape="1">
          <a:blip r:embed="rId2">
            <a:lum/>
          </a:blip>
          <a:srcRect/>
          <a:stretch>
            <a:fillRect t="-35000" b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0" hasCustomPrompt="1"/>
          </p:nvPr>
        </p:nvSpPr>
        <p:spPr>
          <a:xfrm>
            <a:off x="2058656" y="1994117"/>
            <a:ext cx="8074688" cy="2869767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0" b="0" baseline="0">
                <a:solidFill>
                  <a:schemeClr val="accent4"/>
                </a:solidFill>
              </a:defRPr>
            </a:lvl1pPr>
          </a:lstStyle>
          <a:p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Lore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ipsum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dolo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me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,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consectetur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dipiscing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elit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bg2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058656" y="4905271"/>
            <a:ext cx="8074688" cy="43040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baseline="0">
                <a:solidFill>
                  <a:schemeClr val="accent4"/>
                </a:solidFill>
              </a:defRPr>
            </a:lvl1pPr>
          </a:lstStyle>
          <a:p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-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uthor’s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name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and</a:t>
            </a:r>
            <a:r>
              <a:rPr lang="pt-PT">
                <a:solidFill>
                  <a:schemeClr val="accent4"/>
                </a:solidFill>
                <a:latin typeface="EC Square Sans Pro" panose="020B0506040000020004" pitchFamily="34" charset="0"/>
              </a:rPr>
              <a:t> </a:t>
            </a:r>
            <a:r>
              <a:rPr lang="pt-PT" err="1">
                <a:solidFill>
                  <a:schemeClr val="accent4"/>
                </a:solidFill>
                <a:latin typeface="EC Square Sans Pro" panose="020B0506040000020004" pitchFamily="34" charset="0"/>
              </a:rPr>
              <a:t>surname</a:t>
            </a:r>
            <a:endParaRPr lang="pt-PT">
              <a:solidFill>
                <a:schemeClr val="accent4"/>
              </a:solidFill>
              <a:latin typeface="EC Square Sans Pro" panose="020B0506040000020004" pitchFamily="34" charset="0"/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94334806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ik-macmillan-YXemfQiPR_E-unsplash.jpg" descr="nik-macmillan-YXemfQiPR_E-unsplash.jpg"/>
          <p:cNvPicPr>
            <a:picLocks noChangeAspect="1"/>
          </p:cNvPicPr>
          <p:nvPr userDrawn="1"/>
        </p:nvPicPr>
        <p:blipFill rotWithShape="1">
          <a:blip r:embed="rId2">
            <a:alphaModFix amt="35013"/>
          </a:blip>
          <a:srcRect t="8080" b="778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2048608" y="1994116"/>
            <a:ext cx="8084736" cy="28697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70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2048608" y="4886369"/>
            <a:ext cx="8084736" cy="387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- </a:t>
            </a:r>
            <a:r>
              <a:rPr lang="pt-PT" err="1"/>
              <a:t>Author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and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  <a:p>
            <a:pPr lvl="0"/>
            <a:endParaRPr lang="pt-P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347072" y="3740009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”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840" y="1155910"/>
            <a:ext cx="1053768" cy="1305937"/>
          </a:xfrm>
        </p:spPr>
        <p:txBody>
          <a:bodyPr/>
          <a:lstStyle>
            <a:lvl1pPr marL="0" indent="0">
              <a:buNone/>
              <a:defRPr sz="2000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72056032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1" descr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68164" y="874428"/>
            <a:ext cx="3055672" cy="305280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654922" y="4382758"/>
            <a:ext cx="8882157" cy="430405"/>
          </a:xfr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Here you can either ask the reader a question by filling this text box or introduce a Q&amp;A moment in a presentation.</a:t>
            </a:r>
          </a:p>
        </p:txBody>
      </p:sp>
    </p:spTree>
    <p:extLst>
      <p:ext uri="{BB962C8B-B14F-4D97-AF65-F5344CB8AC3E}">
        <p14:creationId xmlns:p14="http://schemas.microsoft.com/office/powerpoint/2010/main" val="49583507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68899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Picture 10"/>
          <p:cNvPicPr>
            <a:picLocks noChangeAspect="1"/>
          </p:cNvPicPr>
          <p:nvPr userDrawn="1"/>
        </p:nvPicPr>
        <p:blipFill>
          <a:blip r:embed="rId2">
            <a:alphaModFix amt="42497"/>
          </a:blip>
          <a:srcRect t="36538" b="22112"/>
          <a:stretch>
            <a:fillRect/>
          </a:stretch>
        </p:blipFill>
        <p:spPr>
          <a:xfrm rot="10800000">
            <a:off x="-2" y="0"/>
            <a:ext cx="121920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203902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3649948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5260869"/>
            <a:ext cx="367158" cy="705464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6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898735" y="2334309"/>
            <a:ext cx="1122196" cy="89513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98502" y="3943908"/>
            <a:ext cx="1122663" cy="89513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 rot="5400000">
            <a:off x="896812" y="5558074"/>
            <a:ext cx="1126041" cy="89514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742640" y="1817968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1742638" y="2139233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1742640" y="3427333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1742638" y="3748598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42638" y="5039809"/>
            <a:ext cx="9611161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42636" y="5361074"/>
            <a:ext cx="9611161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1510832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2333536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0470132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14468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3987846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837335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00421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amet, consectetur adipiscing elit, sed do eiusmod tempor incididunt ut labore et dolore magna aliqua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0634656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0700287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91814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9508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2022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948963" y="1863316"/>
            <a:ext cx="2316617" cy="21693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9091" y="4337222"/>
            <a:ext cx="10366489" cy="1359242"/>
          </a:xfrm>
          <a:prstGeom prst="rect">
            <a:avLst/>
          </a:prstGeom>
          <a:noFill/>
          <a:ln w="1301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3" hasCustomPrompt="1"/>
          </p:nvPr>
        </p:nvSpPr>
        <p:spPr>
          <a:xfrm>
            <a:off x="89909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4" hasCustomPrompt="1"/>
          </p:nvPr>
        </p:nvSpPr>
        <p:spPr>
          <a:xfrm>
            <a:off x="3595082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45" hasCustomPrompt="1"/>
          </p:nvPr>
        </p:nvSpPr>
        <p:spPr>
          <a:xfrm>
            <a:off x="6272021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46" hasCustomPrompt="1"/>
          </p:nvPr>
        </p:nvSpPr>
        <p:spPr>
          <a:xfrm>
            <a:off x="8948963" y="1562583"/>
            <a:ext cx="2316617" cy="23495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21334" y="206236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98274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0992" y="2078246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50" hasCustomPrompt="1"/>
          </p:nvPr>
        </p:nvSpPr>
        <p:spPr>
          <a:xfrm>
            <a:off x="9152155" y="2074651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21334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94790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73471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54" hasCustomPrompt="1"/>
          </p:nvPr>
        </p:nvSpPr>
        <p:spPr>
          <a:xfrm>
            <a:off x="9152155" y="2539999"/>
            <a:ext cx="1913715" cy="1269205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55" hasCustomPrompt="1"/>
          </p:nvPr>
        </p:nvSpPr>
        <p:spPr>
          <a:xfrm>
            <a:off x="1121334" y="4582543"/>
            <a:ext cx="1910231" cy="312719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21334" y="5040701"/>
            <a:ext cx="9841705" cy="345856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62162614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2090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190543" y="1817968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2190541" y="2139233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42" hasCustomPrompt="1"/>
          </p:nvPr>
        </p:nvSpPr>
        <p:spPr>
          <a:xfrm>
            <a:off x="2190543" y="3427333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190541" y="3748598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2190541" y="5039809"/>
            <a:ext cx="9163258" cy="309348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PT" err="1"/>
              <a:t>Idea</a:t>
            </a:r>
            <a:r>
              <a:rPr lang="pt-PT"/>
              <a:t> #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2190539" y="5361074"/>
            <a:ext cx="9163258" cy="80139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defRPr sz="14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918133" y="1817968"/>
            <a:ext cx="950976" cy="950976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918133" y="3427333"/>
            <a:ext cx="950976" cy="950976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918133" y="5036698"/>
            <a:ext cx="950976" cy="950976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886910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561844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1428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340144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5388595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7375750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9362903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134353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333069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5317847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7305002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9292155" y="4603051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134353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33069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5317847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7305002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9292155" y="48984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1581763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953038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3568917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5556071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7543226" y="3028703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013001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4138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3558600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08251548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396431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9551343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319373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8495187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9980822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93986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3713590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4115243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3554033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3554033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3555619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839788" y="1597025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44"/>
          </p:nvPr>
        </p:nvSpPr>
        <p:spPr>
          <a:xfrm>
            <a:off x="4436907" y="1597024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45"/>
          </p:nvPr>
        </p:nvSpPr>
        <p:spPr>
          <a:xfrm>
            <a:off x="8033797" y="1597978"/>
            <a:ext cx="3340100" cy="1831975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1199904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1565269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8649002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735027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6919814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163750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856617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03139459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48421823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3B2ACFD-642F-FE4B-81D5-2EC564F3838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53762" y="1575486"/>
            <a:ext cx="10600038" cy="42754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/>
            </a:lvl1pPr>
            <a:lvl2pPr marL="457200" indent="0">
              <a:lnSpc>
                <a:spcPct val="120000"/>
              </a:lnSpc>
              <a:buNone/>
              <a:defRPr/>
            </a:lvl2pPr>
            <a:lvl3pPr marL="914400" indent="0">
              <a:lnSpc>
                <a:spcPct val="120000"/>
              </a:lnSpc>
              <a:buNone/>
              <a:defRPr/>
            </a:lvl3pPr>
            <a:lvl4pPr marL="1371600" indent="0">
              <a:lnSpc>
                <a:spcPct val="120000"/>
              </a:lnSpc>
              <a:buNone/>
              <a:defRPr/>
            </a:lvl4pPr>
            <a:lvl5pPr marL="1828800" indent="0">
              <a:lnSpc>
                <a:spcPct val="120000"/>
              </a:lnSpc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4225919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1550CF-01D3-48F6-B477-DF9BF0916B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0897E4-173B-4C3B-8776-B0A0D00140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604030-EDDA-4C67-976A-EB4DEE43E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18A01-7A15-4D14-A8FA-2D418DF64D8C}" type="datetimeFigureOut">
              <a:rPr lang="en-US" smtClean="0"/>
              <a:t>4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5BF9EF-ADBE-472D-8798-2ADE21AB8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A2BB54-0DC7-4E75-8803-7D401D21B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2966C-520B-457A-B1CD-A87A4E65AB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7837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838199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35" hasCustomPrompt="1"/>
          </p:nvPr>
        </p:nvSpPr>
        <p:spPr>
          <a:xfrm>
            <a:off x="443509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6" hasCustomPrompt="1"/>
          </p:nvPr>
        </p:nvSpPr>
        <p:spPr>
          <a:xfrm>
            <a:off x="443509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8031981" y="2580115"/>
            <a:ext cx="3341916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Colum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38" hasCustomPrompt="1"/>
          </p:nvPr>
        </p:nvSpPr>
        <p:spPr>
          <a:xfrm>
            <a:off x="8031981" y="2981768"/>
            <a:ext cx="3341916" cy="204439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  <a:r>
              <a:rPr lang="pt-PT" err="1"/>
              <a:t>Excepteur</a:t>
            </a:r>
            <a:r>
              <a:rPr lang="pt-PT"/>
              <a:t> </a:t>
            </a:r>
            <a:r>
              <a:rPr lang="pt-PT" err="1"/>
              <a:t>sint</a:t>
            </a:r>
            <a:r>
              <a:rPr lang="pt-PT"/>
              <a:t> </a:t>
            </a:r>
            <a:r>
              <a:rPr lang="pt-PT" err="1"/>
              <a:t>occaecat</a:t>
            </a:r>
            <a:r>
              <a:rPr lang="pt-PT"/>
              <a:t> </a:t>
            </a:r>
            <a:r>
              <a:rPr lang="pt-PT" err="1"/>
              <a:t>cupidatat</a:t>
            </a:r>
            <a:r>
              <a:rPr lang="pt-PT"/>
              <a:t> non </a:t>
            </a:r>
            <a:r>
              <a:rPr lang="pt-PT" err="1"/>
              <a:t>proident</a:t>
            </a:r>
            <a:r>
              <a:rPr lang="pt-PT"/>
              <a:t>, </a:t>
            </a:r>
            <a:r>
              <a:rPr lang="pt-PT" err="1"/>
              <a:t>sunt</a:t>
            </a:r>
            <a:r>
              <a:rPr lang="pt-PT"/>
              <a:t> in culpa qui </a:t>
            </a:r>
            <a:r>
              <a:rPr lang="pt-PT" err="1"/>
              <a:t>officia</a:t>
            </a:r>
            <a:r>
              <a:rPr lang="pt-PT"/>
              <a:t> </a:t>
            </a:r>
            <a:r>
              <a:rPr lang="pt-PT" err="1"/>
              <a:t>deserunt</a:t>
            </a:r>
            <a:r>
              <a:rPr lang="pt-PT"/>
              <a:t> </a:t>
            </a:r>
            <a:r>
              <a:rPr lang="pt-PT" err="1"/>
              <a:t>mollit</a:t>
            </a:r>
            <a:r>
              <a:rPr lang="pt-PT"/>
              <a:t> </a:t>
            </a:r>
            <a:r>
              <a:rPr lang="pt-PT" err="1"/>
              <a:t>anim</a:t>
            </a:r>
            <a:r>
              <a:rPr lang="pt-PT"/>
              <a:t> id </a:t>
            </a:r>
            <a:r>
              <a:rPr lang="pt-PT" err="1"/>
              <a:t>est</a:t>
            </a:r>
            <a:r>
              <a:rPr lang="pt-PT"/>
              <a:t> </a:t>
            </a:r>
            <a:r>
              <a:rPr lang="pt-PT" err="1"/>
              <a:t>laborum</a:t>
            </a:r>
            <a:r>
              <a:rPr lang="pt-PT"/>
              <a:t>.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2420558"/>
            <a:ext cx="3341916" cy="67252"/>
          </a:xfrm>
          <a:solidFill>
            <a:schemeClr val="accent4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40" hasCustomPrompt="1"/>
          </p:nvPr>
        </p:nvSpPr>
        <p:spPr>
          <a:xfrm>
            <a:off x="4435091" y="2420558"/>
            <a:ext cx="3341916" cy="67252"/>
          </a:xfr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41" hasCustomPrompt="1"/>
          </p:nvPr>
        </p:nvSpPr>
        <p:spPr>
          <a:xfrm>
            <a:off x="8031981" y="2422144"/>
            <a:ext cx="3341916" cy="67252"/>
          </a:xfrm>
          <a:solidFill>
            <a:schemeClr val="accent3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1423898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4875AD7-C6B5-BB44-A721-A67C940C79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178927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6995953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38784628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 b="0" i="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033856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52316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288338" y="717047"/>
            <a:ext cx="3903662" cy="6140953"/>
          </a:xfrm>
          <a:prstGeom prst="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92604" cy="60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7939087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9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4397486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1"/>
          </p:nvPr>
        </p:nvSpPr>
        <p:spPr>
          <a:xfrm>
            <a:off x="6587544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19825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44291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658754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3823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4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/>
          <p:cNvSpPr>
            <a:spLocks noGrp="1"/>
          </p:cNvSpPr>
          <p:nvPr>
            <p:ph type="pic" sz="quarter" idx="15"/>
          </p:nvPr>
        </p:nvSpPr>
        <p:spPr>
          <a:xfrm>
            <a:off x="6708395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0" name="Espace réservé pour une image  8"/>
          <p:cNvSpPr>
            <a:spLocks noGrp="1"/>
          </p:cNvSpPr>
          <p:nvPr>
            <p:ph type="pic" sz="quarter" idx="16"/>
          </p:nvPr>
        </p:nvSpPr>
        <p:spPr>
          <a:xfrm>
            <a:off x="9895547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1" name="Espace réservé pour une image  8"/>
          <p:cNvSpPr>
            <a:spLocks noGrp="1"/>
          </p:cNvSpPr>
          <p:nvPr>
            <p:ph type="pic" sz="quarter" idx="17"/>
          </p:nvPr>
        </p:nvSpPr>
        <p:spPr>
          <a:xfrm>
            <a:off x="334089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8"/>
          </p:nvPr>
        </p:nvSpPr>
        <p:spPr>
          <a:xfrm>
            <a:off x="3521242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0" hasCustomPrompt="1"/>
          </p:nvPr>
        </p:nvSpPr>
        <p:spPr>
          <a:xfrm>
            <a:off x="334089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5" name="Espace réservé du texte 6"/>
          <p:cNvSpPr>
            <a:spLocks noGrp="1"/>
          </p:cNvSpPr>
          <p:nvPr>
            <p:ph type="body" sz="quarter" idx="21" hasCustomPrompt="1"/>
          </p:nvPr>
        </p:nvSpPr>
        <p:spPr>
          <a:xfrm>
            <a:off x="3521242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2" hasCustomPrompt="1"/>
          </p:nvPr>
        </p:nvSpPr>
        <p:spPr>
          <a:xfrm>
            <a:off x="6708395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895547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86489" y="4188907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493837" y="4188906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0274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36617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3"/>
          </p:nvPr>
        </p:nvSpPr>
        <p:spPr>
          <a:xfrm>
            <a:off x="4362383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4"/>
          </p:nvPr>
        </p:nvSpPr>
        <p:spPr>
          <a:xfrm>
            <a:off x="8388148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82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i="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numéro de diapositive 2"/>
          <p:cNvSpPr txBox="1">
            <a:spLocks/>
          </p:cNvSpPr>
          <p:nvPr userDrawn="1"/>
        </p:nvSpPr>
        <p:spPr>
          <a:xfrm>
            <a:off x="11415251" y="6262183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600" b="0" i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600" b="0" i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600" b="0" i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336617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 b="0" i="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 b="0" i="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362383" y="4141684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 b="0" i="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 b="0" i="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8388148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 b="0" i="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 b="0" i="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3607826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8215657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303400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Faits marquants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875393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Evénements à venir</a:t>
            </a: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4863818" y="3919361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Points d</a:t>
            </a:r>
            <a:r>
              <a:rPr lang="fr-FR" sz="2000">
                <a:latin typeface="Calibri" panose="020F0502020204030204" pitchFamily="34" charset="0"/>
                <a:cs typeface="Calibri" panose="020F0502020204030204" pitchFamily="34" charset="0"/>
              </a:rPr>
              <a:t>’</a:t>
            </a:r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attention</a:t>
            </a:r>
          </a:p>
        </p:txBody>
      </p:sp>
      <p:sp>
        <p:nvSpPr>
          <p:cNvPr id="15" name="ZoneTexte 14"/>
          <p:cNvSpPr txBox="1"/>
          <p:nvPr userDrawn="1"/>
        </p:nvSpPr>
        <p:spPr>
          <a:xfrm>
            <a:off x="9447386" y="1517615"/>
            <a:ext cx="25092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Calibri" panose="020F0502020204030204" pitchFamily="34" charset="0"/>
                <a:cs typeface="Calibri" panose="020F0502020204030204" pitchFamily="34" charset="0"/>
              </a:rPr>
              <a:t>Météo du projet</a:t>
            </a:r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539987" y="1990844"/>
            <a:ext cx="2254616" cy="4128955"/>
          </a:xfrm>
          <a:prstGeom prst="roundRect">
            <a:avLst>
              <a:gd name="adj" fmla="val 4349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>
                <a:solidFill>
                  <a:srgbClr val="575756"/>
                </a:solidFill>
              </a:defRPr>
            </a:lvl3pPr>
            <a:lvl4pPr marL="1074737" indent="0">
              <a:buFontTx/>
              <a:buNone/>
              <a:defRPr sz="16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3"/>
            <a:r>
              <a:rPr lang="fr-FR"/>
              <a:t> </a:t>
            </a:r>
          </a:p>
        </p:txBody>
      </p:sp>
      <p:sp>
        <p:nvSpPr>
          <p:cNvPr id="22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745166" y="94369"/>
            <a:ext cx="1926692" cy="531209"/>
          </a:xfrm>
          <a:prstGeom prst="round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24" hasCustomPrompt="1"/>
          </p:nvPr>
        </p:nvSpPr>
        <p:spPr>
          <a:xfrm>
            <a:off x="303213" y="973138"/>
            <a:ext cx="3055937" cy="3984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E9A9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Période XX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407988" y="1990844"/>
            <a:ext cx="4071415" cy="412895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4968692" y="2006824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texte 6"/>
          <p:cNvSpPr>
            <a:spLocks noGrp="1"/>
          </p:cNvSpPr>
          <p:nvPr>
            <p:ph type="body" sz="quarter" idx="22"/>
          </p:nvPr>
        </p:nvSpPr>
        <p:spPr>
          <a:xfrm>
            <a:off x="4968692" y="4398385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5685663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1550CF-01D3-48F6-B477-DF9BF0916B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0897E4-173B-4C3B-8776-B0A0D00140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604030-EDDA-4C67-976A-EB4DEE43E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9218A01-7A15-4D14-A8FA-2D418DF64D8C}" type="datetimeFigureOut">
              <a:rPr lang="en-US" smtClean="0"/>
              <a:pPr/>
              <a:t>4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5BF9EF-ADBE-472D-8798-2ADE21AB8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A2BB54-0DC7-4E75-8803-7D401D21B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C0F2966C-520B-457A-B1CD-A87A4E65AB2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6049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Straight Connector 3"/>
          <p:cNvSpPr/>
          <p:nvPr userDrawn="1"/>
        </p:nvSpPr>
        <p:spPr>
          <a:xfrm>
            <a:off x="586871" y="3428999"/>
            <a:ext cx="11018258" cy="2"/>
          </a:xfrm>
          <a:prstGeom prst="line">
            <a:avLst/>
          </a:prstGeom>
          <a:ln w="19050">
            <a:solidFill>
              <a:srgbClr val="F4CF30"/>
            </a:solidFill>
            <a:prstDash val="sysDot"/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149994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43" hasCustomPrompt="1"/>
          </p:nvPr>
        </p:nvSpPr>
        <p:spPr>
          <a:xfrm>
            <a:off x="2994891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7305097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39788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9460200" y="4115241"/>
            <a:ext cx="1893600" cy="204439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7304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29937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6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5149201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9460200" y="3661798"/>
            <a:ext cx="1893598" cy="309348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1353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3509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56647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9" hasCustomPrompt="1"/>
          </p:nvPr>
        </p:nvSpPr>
        <p:spPr>
          <a:xfrm>
            <a:off x="9975755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3" name="Text Placeholder 12"/>
          <p:cNvSpPr>
            <a:spLocks noGrp="1" noChangeAspect="1"/>
          </p:cNvSpPr>
          <p:nvPr>
            <p:ph type="body" sz="quarter" idx="80" hasCustomPrompt="1"/>
          </p:nvPr>
        </p:nvSpPr>
        <p:spPr>
          <a:xfrm>
            <a:off x="7820256" y="2333714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5" name="Straight Connector 24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729558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5311531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76265" y="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76226251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5707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288338" y="717047"/>
            <a:ext cx="3903662" cy="6140953"/>
          </a:xfrm>
          <a:prstGeom prst="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92604" cy="60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7939087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9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77121320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1"/>
          </p:nvPr>
        </p:nvSpPr>
        <p:spPr>
          <a:xfrm>
            <a:off x="6587544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19825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44291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658754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75807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4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/>
          <p:cNvSpPr>
            <a:spLocks noGrp="1"/>
          </p:cNvSpPr>
          <p:nvPr>
            <p:ph type="pic" sz="quarter" idx="15"/>
          </p:nvPr>
        </p:nvSpPr>
        <p:spPr>
          <a:xfrm>
            <a:off x="6708395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0" name="Espace réservé pour une image  8"/>
          <p:cNvSpPr>
            <a:spLocks noGrp="1"/>
          </p:cNvSpPr>
          <p:nvPr>
            <p:ph type="pic" sz="quarter" idx="16"/>
          </p:nvPr>
        </p:nvSpPr>
        <p:spPr>
          <a:xfrm>
            <a:off x="9895547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1" name="Espace réservé pour une image  8"/>
          <p:cNvSpPr>
            <a:spLocks noGrp="1"/>
          </p:cNvSpPr>
          <p:nvPr>
            <p:ph type="pic" sz="quarter" idx="17"/>
          </p:nvPr>
        </p:nvSpPr>
        <p:spPr>
          <a:xfrm>
            <a:off x="334089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8"/>
          </p:nvPr>
        </p:nvSpPr>
        <p:spPr>
          <a:xfrm>
            <a:off x="3521242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0" hasCustomPrompt="1"/>
          </p:nvPr>
        </p:nvSpPr>
        <p:spPr>
          <a:xfrm>
            <a:off x="334089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5" name="Espace réservé du texte 6"/>
          <p:cNvSpPr>
            <a:spLocks noGrp="1"/>
          </p:cNvSpPr>
          <p:nvPr>
            <p:ph type="body" sz="quarter" idx="21" hasCustomPrompt="1"/>
          </p:nvPr>
        </p:nvSpPr>
        <p:spPr>
          <a:xfrm>
            <a:off x="3521242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2" hasCustomPrompt="1"/>
          </p:nvPr>
        </p:nvSpPr>
        <p:spPr>
          <a:xfrm>
            <a:off x="6708395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895547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86489" y="4188907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493837" y="4188906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28402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36617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3"/>
          </p:nvPr>
        </p:nvSpPr>
        <p:spPr>
          <a:xfrm>
            <a:off x="4362383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4"/>
          </p:nvPr>
        </p:nvSpPr>
        <p:spPr>
          <a:xfrm>
            <a:off x="8388148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82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numéro de diapositive 2"/>
          <p:cNvSpPr txBox="1">
            <a:spLocks/>
          </p:cNvSpPr>
          <p:nvPr userDrawn="1"/>
        </p:nvSpPr>
        <p:spPr>
          <a:xfrm>
            <a:off x="11415251" y="6262183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6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6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600" b="1">
              <a:solidFill>
                <a:prstClr val="white"/>
              </a:solidFill>
              <a:latin typeface="+mn-lt"/>
            </a:endParaRP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336617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362383" y="4141684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8388148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36426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8215657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303400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Faits marquants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875393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Evénements à venir</a:t>
            </a: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4863818" y="3919361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Points d</a:t>
            </a:r>
            <a:r>
              <a:rPr lang="fr-FR" sz="2000">
                <a:latin typeface="+mn-lt"/>
              </a:rPr>
              <a:t>’</a:t>
            </a:r>
            <a:r>
              <a:rPr lang="fr-FR" sz="2000" b="1">
                <a:latin typeface="+mn-lt"/>
              </a:rPr>
              <a:t>attention</a:t>
            </a:r>
          </a:p>
        </p:txBody>
      </p:sp>
      <p:sp>
        <p:nvSpPr>
          <p:cNvPr id="15" name="ZoneTexte 14"/>
          <p:cNvSpPr txBox="1"/>
          <p:nvPr userDrawn="1"/>
        </p:nvSpPr>
        <p:spPr>
          <a:xfrm>
            <a:off x="9447386" y="1517615"/>
            <a:ext cx="25092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Météo du projet</a:t>
            </a:r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539987" y="1990844"/>
            <a:ext cx="2254616" cy="4128955"/>
          </a:xfrm>
          <a:prstGeom prst="roundRect">
            <a:avLst>
              <a:gd name="adj" fmla="val 4349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>
                <a:solidFill>
                  <a:srgbClr val="575756"/>
                </a:solidFill>
              </a:defRPr>
            </a:lvl3pPr>
            <a:lvl4pPr marL="1074737" indent="0">
              <a:buFontTx/>
              <a:buNone/>
              <a:defRPr sz="1600">
                <a:solidFill>
                  <a:srgbClr val="70706F"/>
                </a:solidFill>
                <a:latin typeface="+mn-lt"/>
              </a:defRPr>
            </a:lvl4pPr>
          </a:lstStyle>
          <a:p>
            <a:pPr lvl="3"/>
            <a:r>
              <a:rPr lang="fr-FR"/>
              <a:t> </a:t>
            </a:r>
          </a:p>
        </p:txBody>
      </p:sp>
      <p:sp>
        <p:nvSpPr>
          <p:cNvPr id="22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745166" y="94369"/>
            <a:ext cx="1926692" cy="531209"/>
          </a:xfrm>
          <a:prstGeom prst="round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24" hasCustomPrompt="1"/>
          </p:nvPr>
        </p:nvSpPr>
        <p:spPr>
          <a:xfrm>
            <a:off x="303213" y="973138"/>
            <a:ext cx="3055937" cy="3984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E9A92"/>
                </a:solidFill>
                <a:latin typeface="+mn-lt"/>
              </a:defRPr>
            </a:lvl1pPr>
          </a:lstStyle>
          <a:p>
            <a:pPr lvl="0"/>
            <a:r>
              <a:rPr lang="fr-FR"/>
              <a:t>Période XX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407988" y="1990844"/>
            <a:ext cx="4071415" cy="412895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4968692" y="2006824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texte 6"/>
          <p:cNvSpPr>
            <a:spLocks noGrp="1"/>
          </p:cNvSpPr>
          <p:nvPr>
            <p:ph type="body" sz="quarter" idx="22"/>
          </p:nvPr>
        </p:nvSpPr>
        <p:spPr>
          <a:xfrm>
            <a:off x="4968692" y="4398385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76899166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83724800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76265" y="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20583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4958825" cy="356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Círculo"/>
          <p:cNvSpPr/>
          <p:nvPr/>
        </p:nvSpPr>
        <p:spPr>
          <a:xfrm>
            <a:off x="8276932" y="4420630"/>
            <a:ext cx="1695814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grpSp>
        <p:nvGrpSpPr>
          <p:cNvPr id="7" name="Grupo"/>
          <p:cNvGrpSpPr/>
          <p:nvPr/>
        </p:nvGrpSpPr>
        <p:grpSpPr>
          <a:xfrm>
            <a:off x="4736677" y="126352"/>
            <a:ext cx="6898239" cy="6605348"/>
            <a:chOff x="3" y="-8"/>
            <a:chExt cx="6898235" cy="6605344"/>
          </a:xfrm>
        </p:grpSpPr>
        <p:sp>
          <p:nvSpPr>
            <p:cNvPr id="26" name="Arc 32"/>
            <p:cNvSpPr/>
            <p:nvPr/>
          </p:nvSpPr>
          <p:spPr>
            <a:xfrm rot="16829398" flipH="1">
              <a:off x="598079" y="1251619"/>
              <a:ext cx="1919462" cy="1368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9" h="20329" extrusionOk="0">
                  <a:moveTo>
                    <a:pt x="486" y="20329"/>
                  </a:moveTo>
                  <a:cubicBezTo>
                    <a:pt x="-1311" y="12003"/>
                    <a:pt x="2035" y="3205"/>
                    <a:pt x="7959" y="679"/>
                  </a:cubicBezTo>
                  <a:cubicBezTo>
                    <a:pt x="12533" y="-1271"/>
                    <a:pt x="17484" y="1070"/>
                    <a:pt x="20289" y="6509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7" name="Arc 33"/>
            <p:cNvSpPr/>
            <p:nvPr/>
          </p:nvSpPr>
          <p:spPr>
            <a:xfrm rot="1206224" flipH="1">
              <a:off x="4410970" y="1103002"/>
              <a:ext cx="1907106" cy="1368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81" h="20360" extrusionOk="0">
                  <a:moveTo>
                    <a:pt x="489" y="20360"/>
                  </a:moveTo>
                  <a:cubicBezTo>
                    <a:pt x="-1319" y="12021"/>
                    <a:pt x="2047" y="3210"/>
                    <a:pt x="8007" y="681"/>
                  </a:cubicBezTo>
                  <a:cubicBezTo>
                    <a:pt x="12531" y="-1240"/>
                    <a:pt x="17432" y="992"/>
                    <a:pt x="20281" y="627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8" name="Arc 34"/>
            <p:cNvSpPr/>
            <p:nvPr/>
          </p:nvSpPr>
          <p:spPr>
            <a:xfrm rot="19800000" flipH="1">
              <a:off x="2512479" y="374784"/>
              <a:ext cx="1833478" cy="1247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26" h="20822" extrusionOk="0">
                  <a:moveTo>
                    <a:pt x="189" y="20822"/>
                  </a:moveTo>
                  <a:cubicBezTo>
                    <a:pt x="-974" y="11200"/>
                    <a:pt x="3342" y="2003"/>
                    <a:pt x="9828" y="278"/>
                  </a:cubicBezTo>
                  <a:cubicBezTo>
                    <a:pt x="13800" y="-778"/>
                    <a:pt x="17862" y="1216"/>
                    <a:pt x="20626" y="5578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29" name="Arc 35"/>
            <p:cNvSpPr/>
            <p:nvPr/>
          </p:nvSpPr>
          <p:spPr>
            <a:xfrm rot="13683772" flipH="1">
              <a:off x="166213" y="3356574"/>
              <a:ext cx="1933689" cy="130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3" h="20456" extrusionOk="0">
                  <a:moveTo>
                    <a:pt x="315" y="20456"/>
                  </a:moveTo>
                  <a:cubicBezTo>
                    <a:pt x="-1137" y="11558"/>
                    <a:pt x="2571" y="2606"/>
                    <a:pt x="8596" y="462"/>
                  </a:cubicBezTo>
                  <a:cubicBezTo>
                    <a:pt x="13110" y="-1144"/>
                    <a:pt x="17827" y="1519"/>
                    <a:pt x="20463" y="7162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0" name="Arc 36"/>
            <p:cNvSpPr/>
            <p:nvPr/>
          </p:nvSpPr>
          <p:spPr>
            <a:xfrm rot="4307260" flipH="1">
              <a:off x="4974159" y="3093324"/>
              <a:ext cx="1884215" cy="1447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3" h="20266" extrusionOk="0">
                  <a:moveTo>
                    <a:pt x="783" y="20266"/>
                  </a:moveTo>
                  <a:cubicBezTo>
                    <a:pt x="-1497" y="12632"/>
                    <a:pt x="1371" y="4017"/>
                    <a:pt x="7189" y="1025"/>
                  </a:cubicBezTo>
                  <a:cubicBezTo>
                    <a:pt x="11776" y="-1334"/>
                    <a:pt x="16998" y="472"/>
                    <a:pt x="20103" y="549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1" name="Arc 37"/>
            <p:cNvSpPr/>
            <p:nvPr/>
          </p:nvSpPr>
          <p:spPr>
            <a:xfrm rot="7465034" flipH="1">
              <a:off x="3704707" y="4763577"/>
              <a:ext cx="1868650" cy="1368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55" h="20451" extrusionOk="0">
                  <a:moveTo>
                    <a:pt x="498" y="20451"/>
                  </a:moveTo>
                  <a:cubicBezTo>
                    <a:pt x="-1345" y="12074"/>
                    <a:pt x="2086" y="3224"/>
                    <a:pt x="8161" y="683"/>
                  </a:cubicBezTo>
                  <a:cubicBezTo>
                    <a:pt x="12540" y="-1149"/>
                    <a:pt x="17290" y="775"/>
                    <a:pt x="20255" y="558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  <p:sp>
          <p:nvSpPr>
            <p:cNvPr id="32" name="Arc 38"/>
            <p:cNvSpPr/>
            <p:nvPr/>
          </p:nvSpPr>
          <p:spPr>
            <a:xfrm rot="10521581" flipH="1">
              <a:off x="1615389" y="4900759"/>
              <a:ext cx="1888466" cy="12986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71" h="20580" extrusionOk="0">
                  <a:moveTo>
                    <a:pt x="296" y="20580"/>
                  </a:moveTo>
                  <a:cubicBezTo>
                    <a:pt x="-1129" y="11534"/>
                    <a:pt x="2731" y="2512"/>
                    <a:pt x="8918" y="429"/>
                  </a:cubicBezTo>
                  <a:cubicBezTo>
                    <a:pt x="13221" y="-1020"/>
                    <a:pt x="17711" y="1262"/>
                    <a:pt x="20471" y="6300"/>
                  </a:cubicBezTo>
                </a:path>
              </a:pathLst>
            </a:custGeom>
            <a:noFill/>
            <a:ln w="19050" cap="flat">
              <a:solidFill>
                <a:srgbClr val="213963"/>
              </a:solidFill>
              <a:prstDash val="solid"/>
              <a:miter lim="800000"/>
              <a:headEnd type="triangle" w="med" len="med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Frutiger Next Pro Light"/>
                  <a:ea typeface="Frutiger Next Pro Light"/>
                  <a:cs typeface="Frutiger Next Pro Light"/>
                  <a:sym typeface="Frutiger Next Pro Light"/>
                </a:defRPr>
              </a:pPr>
              <a:endParaRPr/>
            </a:p>
          </p:txBody>
        </p:sp>
      </p:grpSp>
      <p:sp>
        <p:nvSpPr>
          <p:cNvPr id="24" name="Círculo"/>
          <p:cNvSpPr/>
          <p:nvPr/>
        </p:nvSpPr>
        <p:spPr>
          <a:xfrm>
            <a:off x="9478523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2" name="Círculo"/>
          <p:cNvSpPr/>
          <p:nvPr/>
        </p:nvSpPr>
        <p:spPr>
          <a:xfrm>
            <a:off x="9018963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0" name="Círculo"/>
          <p:cNvSpPr/>
          <p:nvPr/>
        </p:nvSpPr>
        <p:spPr>
          <a:xfrm>
            <a:off x="7349278" y="699312"/>
            <a:ext cx="1695815" cy="1695820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8" name="Círculo"/>
          <p:cNvSpPr/>
          <p:nvPr/>
        </p:nvSpPr>
        <p:spPr>
          <a:xfrm>
            <a:off x="5725291" y="1341686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6" name="Círculo"/>
          <p:cNvSpPr/>
          <p:nvPr/>
        </p:nvSpPr>
        <p:spPr>
          <a:xfrm>
            <a:off x="5357765" y="3111714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" name="Círculo"/>
          <p:cNvSpPr/>
          <p:nvPr/>
        </p:nvSpPr>
        <p:spPr>
          <a:xfrm>
            <a:off x="6520767" y="4420630"/>
            <a:ext cx="1695815" cy="1695819"/>
          </a:xfrm>
          <a:prstGeom prst="ellipse">
            <a:avLst/>
          </a:prstGeom>
          <a:solidFill>
            <a:srgbClr val="3C4E93"/>
          </a:solidFill>
          <a:ln w="6350" cap="flat">
            <a:solidFill>
              <a:srgbClr val="FFFFFF">
                <a:alpha val="39000"/>
              </a:srgbClr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ctr">
            <a:noAutofit/>
          </a:bodyPr>
          <a:lstStyle/>
          <a:p>
            <a:pPr algn="ctr">
              <a:defRPr>
                <a:solidFill>
                  <a:srgbClr val="3C4E93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4958076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850448" y="1944688"/>
            <a:ext cx="3928481" cy="14772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 </a:t>
            </a:r>
            <a:r>
              <a:rPr lang="pt-PT" err="1"/>
              <a:t>inventore</a:t>
            </a:r>
            <a:r>
              <a:rPr lang="pt-PT"/>
              <a:t> </a:t>
            </a:r>
            <a:r>
              <a:rPr lang="pt-PT" err="1"/>
              <a:t>veritatis</a:t>
            </a:r>
            <a:r>
              <a:rPr lang="pt-PT"/>
              <a:t>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quasi</a:t>
            </a:r>
            <a:r>
              <a:rPr lang="pt-PT"/>
              <a:t> </a:t>
            </a:r>
            <a:r>
              <a:rPr lang="pt-PT" err="1"/>
              <a:t>architecto</a:t>
            </a:r>
            <a:r>
              <a:rPr lang="pt-PT"/>
              <a:t> </a:t>
            </a:r>
            <a:r>
              <a:rPr lang="pt-PT" err="1"/>
              <a:t>beatae</a:t>
            </a:r>
            <a:r>
              <a:rPr lang="pt-PT"/>
              <a:t> vitae </a:t>
            </a:r>
            <a:r>
              <a:rPr lang="pt-PT" err="1"/>
              <a:t>dicta</a:t>
            </a:r>
            <a:r>
              <a:rPr lang="pt-PT"/>
              <a:t> </a:t>
            </a:r>
            <a:r>
              <a:rPr lang="pt-PT" err="1"/>
              <a:t>sunt</a:t>
            </a:r>
            <a:r>
              <a:rPr lang="pt-PT"/>
              <a:t> </a:t>
            </a:r>
            <a:r>
              <a:rPr lang="pt-PT" err="1"/>
              <a:t>explicabo</a:t>
            </a:r>
            <a:r>
              <a:rPr lang="pt-PT"/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549986" y="3517599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549986" y="3783022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670719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670719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50" hasCustomPrompt="1"/>
          </p:nvPr>
        </p:nvSpPr>
        <p:spPr>
          <a:xfrm>
            <a:off x="8465831" y="483399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51" hasCustomPrompt="1"/>
          </p:nvPr>
        </p:nvSpPr>
        <p:spPr>
          <a:xfrm>
            <a:off x="8465831" y="509941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52" hasCustomPrompt="1"/>
          </p:nvPr>
        </p:nvSpPr>
        <p:spPr>
          <a:xfrm>
            <a:off x="9671605" y="352136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53" hasCustomPrompt="1"/>
          </p:nvPr>
        </p:nvSpPr>
        <p:spPr>
          <a:xfrm>
            <a:off x="9671605" y="378678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4" hasCustomPrompt="1"/>
          </p:nvPr>
        </p:nvSpPr>
        <p:spPr>
          <a:xfrm>
            <a:off x="7534707" y="1101945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5" hasCustomPrompt="1"/>
          </p:nvPr>
        </p:nvSpPr>
        <p:spPr>
          <a:xfrm>
            <a:off x="7534707" y="1367368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5917881" y="1776783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5917881" y="2042206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9205013" y="1748380"/>
            <a:ext cx="1329749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baseline="0">
                <a:solidFill>
                  <a:schemeClr val="bg2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9205013" y="2013803"/>
            <a:ext cx="1329749" cy="70049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endParaRPr lang="pt-PT"/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7178168" y="2963416"/>
            <a:ext cx="2141575" cy="93386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Main</a:t>
            </a:r>
            <a:r>
              <a:rPr lang="pt-PT"/>
              <a:t> </a:t>
            </a:r>
            <a:r>
              <a:rPr lang="pt-PT" err="1"/>
              <a:t>message</a:t>
            </a:r>
            <a:endParaRPr lang="pt-PT"/>
          </a:p>
          <a:p>
            <a:endParaRPr lang="pt-PT"/>
          </a:p>
        </p:txBody>
      </p:sp>
      <p:cxnSp>
        <p:nvCxnSpPr>
          <p:cNvPr id="53" name="Straight Connector 5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5723089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4646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288338" y="717047"/>
            <a:ext cx="3903662" cy="6140953"/>
          </a:xfrm>
          <a:prstGeom prst="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92604" cy="60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7939087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9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84108700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2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5"/>
          <p:cNvSpPr>
            <a:spLocks noGrp="1"/>
          </p:cNvSpPr>
          <p:nvPr>
            <p:ph type="pic" sz="quarter" idx="11"/>
          </p:nvPr>
        </p:nvSpPr>
        <p:spPr>
          <a:xfrm>
            <a:off x="6587544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19825" y="1244724"/>
            <a:ext cx="5273608" cy="2511627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0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44291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6587544" y="4086895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3910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4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/>
          <p:cNvSpPr>
            <a:spLocks noGrp="1"/>
          </p:cNvSpPr>
          <p:nvPr>
            <p:ph type="pic" sz="quarter" idx="15"/>
          </p:nvPr>
        </p:nvSpPr>
        <p:spPr>
          <a:xfrm>
            <a:off x="6708395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0" name="Espace réservé pour une image  8"/>
          <p:cNvSpPr>
            <a:spLocks noGrp="1"/>
          </p:cNvSpPr>
          <p:nvPr>
            <p:ph type="pic" sz="quarter" idx="16"/>
          </p:nvPr>
        </p:nvSpPr>
        <p:spPr>
          <a:xfrm>
            <a:off x="9895547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1" name="Espace réservé pour une image  8"/>
          <p:cNvSpPr>
            <a:spLocks noGrp="1"/>
          </p:cNvSpPr>
          <p:nvPr>
            <p:ph type="pic" sz="quarter" idx="17"/>
          </p:nvPr>
        </p:nvSpPr>
        <p:spPr>
          <a:xfrm>
            <a:off x="334089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8"/>
          </p:nvPr>
        </p:nvSpPr>
        <p:spPr>
          <a:xfrm>
            <a:off x="3521242" y="1130887"/>
            <a:ext cx="1951038" cy="1951038"/>
          </a:xfrm>
          <a:prstGeom prst="ellipse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>
              <a:defRPr lang="fr-FR" sz="800" dirty="0">
                <a:latin typeface="+mn-lt"/>
              </a:defRPr>
            </a:lvl1pPr>
          </a:lstStyle>
          <a:p>
            <a:pPr marL="0" lvl="0" indent="0">
              <a:buNone/>
            </a:pPr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0" hasCustomPrompt="1"/>
          </p:nvPr>
        </p:nvSpPr>
        <p:spPr>
          <a:xfrm>
            <a:off x="334089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5" name="Espace réservé du texte 6"/>
          <p:cNvSpPr>
            <a:spLocks noGrp="1"/>
          </p:cNvSpPr>
          <p:nvPr>
            <p:ph type="body" sz="quarter" idx="21" hasCustomPrompt="1"/>
          </p:nvPr>
        </p:nvSpPr>
        <p:spPr>
          <a:xfrm>
            <a:off x="3521242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2" hasCustomPrompt="1"/>
          </p:nvPr>
        </p:nvSpPr>
        <p:spPr>
          <a:xfrm>
            <a:off x="6708395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895547" y="3285241"/>
            <a:ext cx="1951038" cy="391677"/>
          </a:xfrm>
          <a:prstGeom prst="rect">
            <a:avLst/>
          </a:prstGeo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/>
            </a:lvl3pPr>
            <a:lvl4pPr marL="1074737" indent="0">
              <a:buFontTx/>
              <a:buNone/>
              <a:defRPr sz="1600"/>
            </a:lvl4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79447" cy="6104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86489" y="4188907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493837" y="4188906"/>
            <a:ext cx="5302920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6822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336617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3"/>
          </p:nvPr>
        </p:nvSpPr>
        <p:spPr>
          <a:xfrm>
            <a:off x="4362383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7" name="Espace réservé pour une image  5"/>
          <p:cNvSpPr>
            <a:spLocks noGrp="1"/>
          </p:cNvSpPr>
          <p:nvPr>
            <p:ph type="pic" sz="quarter" idx="14"/>
          </p:nvPr>
        </p:nvSpPr>
        <p:spPr>
          <a:xfrm>
            <a:off x="8388148" y="1189625"/>
            <a:ext cx="3408609" cy="2316480"/>
          </a:xfrm>
          <a:prstGeom prst="roundRect">
            <a:avLst/>
          </a:prstGeom>
          <a:effectLst>
            <a:outerShdw blurRad="127000" dir="5400000" sx="103000" sy="103000" algn="ctr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lang="fr-FR" sz="800"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82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2" name="Espace réservé du numéro de diapositive 2"/>
          <p:cNvSpPr txBox="1">
            <a:spLocks/>
          </p:cNvSpPr>
          <p:nvPr userDrawn="1"/>
        </p:nvSpPr>
        <p:spPr>
          <a:xfrm>
            <a:off x="11415251" y="6262183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6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6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600" b="1">
              <a:solidFill>
                <a:prstClr val="white"/>
              </a:solidFill>
              <a:latin typeface="+mn-lt"/>
            </a:endParaRPr>
          </a:p>
        </p:txBody>
      </p:sp>
      <p:sp>
        <p:nvSpPr>
          <p:cNvPr id="11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336617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3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4362383" y="4141684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8388148" y="4141685"/>
            <a:ext cx="3408609" cy="2569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2092293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8215657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ZoneTexte 9"/>
          <p:cNvSpPr txBox="1"/>
          <p:nvPr userDrawn="1"/>
        </p:nvSpPr>
        <p:spPr>
          <a:xfrm>
            <a:off x="303400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Faits marquants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875393" y="1517615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Evénements à venir</a:t>
            </a: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4863818" y="3919361"/>
            <a:ext cx="3055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Points d</a:t>
            </a:r>
            <a:r>
              <a:rPr lang="fr-FR" sz="2000">
                <a:latin typeface="+mn-lt"/>
              </a:rPr>
              <a:t>’</a:t>
            </a:r>
            <a:r>
              <a:rPr lang="fr-FR" sz="2000" b="1">
                <a:latin typeface="+mn-lt"/>
              </a:rPr>
              <a:t>attention</a:t>
            </a:r>
          </a:p>
        </p:txBody>
      </p:sp>
      <p:sp>
        <p:nvSpPr>
          <p:cNvPr id="15" name="ZoneTexte 14"/>
          <p:cNvSpPr txBox="1"/>
          <p:nvPr userDrawn="1"/>
        </p:nvSpPr>
        <p:spPr>
          <a:xfrm>
            <a:off x="9447386" y="1517615"/>
            <a:ext cx="25092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>
                <a:latin typeface="+mn-lt"/>
              </a:rPr>
              <a:t>Météo du projet</a:t>
            </a:r>
          </a:p>
        </p:txBody>
      </p:sp>
      <p:sp>
        <p:nvSpPr>
          <p:cNvPr id="20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9539987" y="1990844"/>
            <a:ext cx="2254616" cy="4128955"/>
          </a:xfrm>
          <a:prstGeom prst="roundRect">
            <a:avLst>
              <a:gd name="adj" fmla="val 4349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355600" indent="-355600">
              <a:buFontTx/>
              <a:buBlip>
                <a:blip r:embed="rId2"/>
              </a:buBlip>
              <a:defRPr sz="2000"/>
            </a:lvl2pPr>
            <a:lvl3pPr marL="896938" indent="-355600">
              <a:buFontTx/>
              <a:buBlip>
                <a:blip r:embed="rId3"/>
              </a:buBlip>
              <a:defRPr sz="1800">
                <a:solidFill>
                  <a:srgbClr val="575756"/>
                </a:solidFill>
              </a:defRPr>
            </a:lvl3pPr>
            <a:lvl4pPr marL="1074737" indent="0">
              <a:buFontTx/>
              <a:buNone/>
              <a:defRPr sz="1600">
                <a:solidFill>
                  <a:srgbClr val="70706F"/>
                </a:solidFill>
                <a:latin typeface="+mn-lt"/>
              </a:defRPr>
            </a:lvl4pPr>
          </a:lstStyle>
          <a:p>
            <a:pPr lvl="3"/>
            <a:r>
              <a:rPr lang="fr-FR"/>
              <a:t> </a:t>
            </a:r>
          </a:p>
        </p:txBody>
      </p:sp>
      <p:sp>
        <p:nvSpPr>
          <p:cNvPr id="22" name="Espace réservé pour une image  5"/>
          <p:cNvSpPr>
            <a:spLocks noGrp="1"/>
          </p:cNvSpPr>
          <p:nvPr>
            <p:ph type="pic" sz="quarter" idx="12"/>
          </p:nvPr>
        </p:nvSpPr>
        <p:spPr>
          <a:xfrm>
            <a:off x="8745166" y="94369"/>
            <a:ext cx="1926692" cy="531209"/>
          </a:xfrm>
          <a:prstGeom prst="round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80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24" hasCustomPrompt="1"/>
          </p:nvPr>
        </p:nvSpPr>
        <p:spPr>
          <a:xfrm>
            <a:off x="303213" y="973138"/>
            <a:ext cx="3055937" cy="3984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E9A92"/>
                </a:solidFill>
                <a:latin typeface="+mn-lt"/>
              </a:defRPr>
            </a:lvl1pPr>
          </a:lstStyle>
          <a:p>
            <a:pPr lvl="0"/>
            <a:r>
              <a:rPr lang="fr-FR"/>
              <a:t>Période XX</a:t>
            </a:r>
          </a:p>
        </p:txBody>
      </p:sp>
      <p:sp>
        <p:nvSpPr>
          <p:cNvPr id="16" name="Espace réservé du texte 6"/>
          <p:cNvSpPr>
            <a:spLocks noGrp="1"/>
          </p:cNvSpPr>
          <p:nvPr>
            <p:ph type="body" sz="quarter" idx="20"/>
          </p:nvPr>
        </p:nvSpPr>
        <p:spPr>
          <a:xfrm>
            <a:off x="407988" y="1990844"/>
            <a:ext cx="4071415" cy="412895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4968692" y="2006824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21" name="Espace réservé du texte 6"/>
          <p:cNvSpPr>
            <a:spLocks noGrp="1"/>
          </p:cNvSpPr>
          <p:nvPr>
            <p:ph type="body" sz="quarter" idx="22"/>
          </p:nvPr>
        </p:nvSpPr>
        <p:spPr>
          <a:xfrm>
            <a:off x="4968692" y="4398385"/>
            <a:ext cx="4105852" cy="1721415"/>
          </a:xfrm>
          <a:prstGeom prst="roundRect">
            <a:avLst>
              <a:gd name="adj" fmla="val 3055"/>
            </a:avLst>
          </a:prstGeom>
          <a:solidFill>
            <a:schemeClr val="bg1"/>
          </a:solidFill>
          <a:ln w="19050">
            <a:gradFill>
              <a:gsLst>
                <a:gs pos="0">
                  <a:srgbClr val="F60000"/>
                </a:gs>
                <a:gs pos="23000">
                  <a:srgbClr val="A50021"/>
                </a:gs>
                <a:gs pos="52000">
                  <a:srgbClr val="721C58"/>
                </a:gs>
                <a:gs pos="76000">
                  <a:srgbClr val="1E9A92"/>
                </a:gs>
                <a:gs pos="100000">
                  <a:srgbClr val="223A89"/>
                </a:gs>
              </a:gsLst>
              <a:lin ang="7800000" scaled="0"/>
            </a:gra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8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#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825252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Arc 12"/>
          <p:cNvSpPr/>
          <p:nvPr userDrawn="1"/>
        </p:nvSpPr>
        <p:spPr>
          <a:xfrm>
            <a:off x="4259372" y="2193306"/>
            <a:ext cx="3673181" cy="3673181"/>
          </a:xfrm>
          <a:prstGeom prst="ellipse">
            <a:avLst/>
          </a:prstGeom>
          <a:ln w="19050">
            <a:solidFill>
              <a:srgbClr val="A6A6A6"/>
            </a:solidFill>
            <a:prstDash val="sysDot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9" name="Oval 15"/>
          <p:cNvSpPr/>
          <p:nvPr userDrawn="1"/>
        </p:nvSpPr>
        <p:spPr>
          <a:xfrm>
            <a:off x="4807465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18"/>
          <p:cNvSpPr/>
          <p:nvPr userDrawn="1"/>
        </p:nvSpPr>
        <p:spPr>
          <a:xfrm>
            <a:off x="7118997" y="2478669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Oval 21"/>
          <p:cNvSpPr/>
          <p:nvPr userDrawn="1"/>
        </p:nvSpPr>
        <p:spPr>
          <a:xfrm>
            <a:off x="4807465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Oval 24"/>
          <p:cNvSpPr/>
          <p:nvPr userDrawn="1"/>
        </p:nvSpPr>
        <p:spPr>
          <a:xfrm>
            <a:off x="7118997" y="5334367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3" name="Oval 27"/>
          <p:cNvSpPr/>
          <p:nvPr userDrawn="1"/>
        </p:nvSpPr>
        <p:spPr>
          <a:xfrm>
            <a:off x="7797318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Oval 30"/>
          <p:cNvSpPr/>
          <p:nvPr userDrawn="1"/>
        </p:nvSpPr>
        <p:spPr>
          <a:xfrm>
            <a:off x="4124145" y="3935812"/>
            <a:ext cx="270537" cy="270537"/>
          </a:xfrm>
          <a:prstGeom prst="ellipse">
            <a:avLst/>
          </a:prstGeom>
          <a:solidFill>
            <a:srgbClr val="183A66"/>
          </a:solidFill>
          <a:ln w="19050"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 defTabSz="1375467">
              <a:defRPr sz="26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115366" y="2209360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115366" y="2474783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115366" y="4989233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59" hasCustomPrompt="1"/>
          </p:nvPr>
        </p:nvSpPr>
        <p:spPr>
          <a:xfrm>
            <a:off x="1115366" y="5254656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614624" y="3599296"/>
            <a:ext cx="317633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614624" y="3864719"/>
            <a:ext cx="3176337" cy="700496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8400964" y="3599296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8400964" y="3864719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42360" y="4989233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65" hasCustomPrompt="1"/>
          </p:nvPr>
        </p:nvSpPr>
        <p:spPr>
          <a:xfrm>
            <a:off x="7842360" y="5254656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66" hasCustomPrompt="1"/>
          </p:nvPr>
        </p:nvSpPr>
        <p:spPr>
          <a:xfrm>
            <a:off x="7842360" y="2209360"/>
            <a:ext cx="317633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7842360" y="2474783"/>
            <a:ext cx="3176337" cy="70049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574194" y="3549274"/>
            <a:ext cx="1043611" cy="104361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42332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73"/>
          <p:cNvGrpSpPr/>
          <p:nvPr userDrawn="1"/>
        </p:nvGrpSpPr>
        <p:grpSpPr>
          <a:xfrm>
            <a:off x="4508054" y="2774544"/>
            <a:ext cx="465988" cy="218146"/>
            <a:chOff x="0" y="0"/>
            <a:chExt cx="465987" cy="218144"/>
          </a:xfrm>
        </p:grpSpPr>
        <p:sp>
          <p:nvSpPr>
            <p:cNvPr id="5" name="Straight Connector 37"/>
            <p:cNvSpPr/>
            <p:nvPr/>
          </p:nvSpPr>
          <p:spPr>
            <a:xfrm flipH="1" flipV="1">
              <a:off x="226513" y="1159"/>
              <a:ext cx="239476" cy="216985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6" name="Straight Connector 38"/>
            <p:cNvSpPr/>
            <p:nvPr/>
          </p:nvSpPr>
          <p:spPr>
            <a:xfrm flipH="1" flipV="1">
              <a:off x="0" y="-1"/>
              <a:ext cx="226515" cy="3"/>
            </a:xfrm>
            <a:prstGeom prst="line">
              <a:avLst/>
            </a:prstGeom>
            <a:noFill/>
            <a:ln w="19050" cap="rnd">
              <a:solidFill>
                <a:srgbClr val="9FC8BA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7" name="Group 74"/>
          <p:cNvGrpSpPr/>
          <p:nvPr userDrawn="1"/>
        </p:nvGrpSpPr>
        <p:grpSpPr>
          <a:xfrm>
            <a:off x="7130014" y="2772739"/>
            <a:ext cx="514107" cy="221756"/>
            <a:chOff x="-1" y="0"/>
            <a:chExt cx="514105" cy="221755"/>
          </a:xfrm>
        </p:grpSpPr>
        <p:sp>
          <p:nvSpPr>
            <p:cNvPr id="8" name="Straight Connector 40"/>
            <p:cNvSpPr/>
            <p:nvPr/>
          </p:nvSpPr>
          <p:spPr>
            <a:xfrm flipV="1">
              <a:off x="-2" y="1096"/>
              <a:ext cx="239477" cy="220660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9" name="Straight Connector 41"/>
            <p:cNvSpPr/>
            <p:nvPr/>
          </p:nvSpPr>
          <p:spPr>
            <a:xfrm>
              <a:off x="239474" y="-1"/>
              <a:ext cx="274631" cy="2"/>
            </a:xfrm>
            <a:prstGeom prst="line">
              <a:avLst/>
            </a:prstGeom>
            <a:noFill/>
            <a:ln w="19050" cap="rnd">
              <a:solidFill>
                <a:srgbClr val="5088C5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0" name="Group 81"/>
          <p:cNvGrpSpPr/>
          <p:nvPr userDrawn="1"/>
        </p:nvGrpSpPr>
        <p:grpSpPr>
          <a:xfrm>
            <a:off x="4508052" y="5198100"/>
            <a:ext cx="456055" cy="218146"/>
            <a:chOff x="0" y="0"/>
            <a:chExt cx="456054" cy="218144"/>
          </a:xfrm>
        </p:grpSpPr>
        <p:sp>
          <p:nvSpPr>
            <p:cNvPr id="11" name="Straight Connector 43"/>
            <p:cNvSpPr/>
            <p:nvPr/>
          </p:nvSpPr>
          <p:spPr>
            <a:xfrm flipH="1">
              <a:off x="216579" y="-2"/>
              <a:ext cx="239476" cy="216986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2" name="Straight Connector 44"/>
            <p:cNvSpPr/>
            <p:nvPr/>
          </p:nvSpPr>
          <p:spPr>
            <a:xfrm flipH="1" flipV="1">
              <a:off x="0" y="218141"/>
              <a:ext cx="216582" cy="3"/>
            </a:xfrm>
            <a:prstGeom prst="line">
              <a:avLst/>
            </a:prstGeom>
            <a:noFill/>
            <a:ln w="19050" cap="rnd">
              <a:solidFill>
                <a:srgbClr val="F4CF3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3" name="Group 84"/>
          <p:cNvGrpSpPr/>
          <p:nvPr userDrawn="1"/>
        </p:nvGrpSpPr>
        <p:grpSpPr>
          <a:xfrm>
            <a:off x="7150905" y="5196294"/>
            <a:ext cx="493215" cy="221757"/>
            <a:chOff x="-1" y="-1"/>
            <a:chExt cx="493214" cy="221756"/>
          </a:xfrm>
        </p:grpSpPr>
        <p:sp>
          <p:nvSpPr>
            <p:cNvPr id="14" name="Straight Connector 46"/>
            <p:cNvSpPr/>
            <p:nvPr/>
          </p:nvSpPr>
          <p:spPr>
            <a:xfrm>
              <a:off x="-2" y="-2"/>
              <a:ext cx="239478" cy="220660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  <p:sp>
          <p:nvSpPr>
            <p:cNvPr id="15" name="Straight Connector 47"/>
            <p:cNvSpPr/>
            <p:nvPr/>
          </p:nvSpPr>
          <p:spPr>
            <a:xfrm>
              <a:off x="239473" y="221753"/>
              <a:ext cx="253741" cy="3"/>
            </a:xfrm>
            <a:prstGeom prst="line">
              <a:avLst/>
            </a:prstGeom>
            <a:noFill/>
            <a:ln w="19050" cap="rnd">
              <a:solidFill>
                <a:srgbClr val="364F98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16" name="Group 1"/>
          <p:cNvGrpSpPr/>
          <p:nvPr userDrawn="1"/>
        </p:nvGrpSpPr>
        <p:grpSpPr>
          <a:xfrm>
            <a:off x="4215827" y="2249573"/>
            <a:ext cx="3743531" cy="3741989"/>
            <a:chOff x="0" y="0"/>
            <a:chExt cx="3743530" cy="3741988"/>
          </a:xfrm>
        </p:grpSpPr>
        <p:sp>
          <p:nvSpPr>
            <p:cNvPr id="17" name="Freeform 5"/>
            <p:cNvSpPr/>
            <p:nvPr/>
          </p:nvSpPr>
          <p:spPr>
            <a:xfrm>
              <a:off x="-1" y="1273833"/>
              <a:ext cx="1868586" cy="22423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5736"/>
                  </a:moveTo>
                  <a:cubicBezTo>
                    <a:pt x="10800" y="5736"/>
                    <a:pt x="10800" y="5772"/>
                    <a:pt x="10800" y="5808"/>
                  </a:cubicBezTo>
                  <a:cubicBezTo>
                    <a:pt x="10800" y="6208"/>
                    <a:pt x="10844" y="6607"/>
                    <a:pt x="10887" y="6970"/>
                  </a:cubicBezTo>
                  <a:cubicBezTo>
                    <a:pt x="11192" y="8967"/>
                    <a:pt x="12237" y="10709"/>
                    <a:pt x="13979" y="12161"/>
                  </a:cubicBezTo>
                  <a:cubicBezTo>
                    <a:pt x="15460" y="13396"/>
                    <a:pt x="17115" y="14194"/>
                    <a:pt x="19031" y="14557"/>
                  </a:cubicBezTo>
                  <a:cubicBezTo>
                    <a:pt x="19858" y="14739"/>
                    <a:pt x="20685" y="14811"/>
                    <a:pt x="21600" y="14811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0642" y="21600"/>
                    <a:pt x="19684" y="21564"/>
                    <a:pt x="18726" y="21455"/>
                  </a:cubicBezTo>
                  <a:cubicBezTo>
                    <a:pt x="14719" y="20983"/>
                    <a:pt x="11235" y="19494"/>
                    <a:pt x="8231" y="16990"/>
                  </a:cubicBezTo>
                  <a:cubicBezTo>
                    <a:pt x="4877" y="14158"/>
                    <a:pt x="3005" y="10854"/>
                    <a:pt x="2700" y="6970"/>
                  </a:cubicBezTo>
                  <a:cubicBezTo>
                    <a:pt x="2656" y="6607"/>
                    <a:pt x="2656" y="6208"/>
                    <a:pt x="2656" y="5808"/>
                  </a:cubicBezTo>
                  <a:cubicBezTo>
                    <a:pt x="2656" y="5772"/>
                    <a:pt x="2656" y="5736"/>
                    <a:pt x="2656" y="5736"/>
                  </a:cubicBezTo>
                  <a:cubicBezTo>
                    <a:pt x="0" y="5736"/>
                    <a:pt x="0" y="5736"/>
                    <a:pt x="0" y="5736"/>
                  </a:cubicBezTo>
                  <a:cubicBezTo>
                    <a:pt x="6837" y="0"/>
                    <a:pt x="6837" y="0"/>
                    <a:pt x="6837" y="0"/>
                  </a:cubicBezTo>
                  <a:cubicBezTo>
                    <a:pt x="13631" y="5736"/>
                    <a:pt x="13631" y="5736"/>
                    <a:pt x="13631" y="5736"/>
                  </a:cubicBezTo>
                  <a:lnTo>
                    <a:pt x="10800" y="5736"/>
                  </a:lnTo>
                  <a:close/>
                </a:path>
              </a:pathLst>
            </a:custGeom>
            <a:solidFill>
              <a:srgbClr val="F4CF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Freeform 6"/>
            <p:cNvSpPr/>
            <p:nvPr/>
          </p:nvSpPr>
          <p:spPr>
            <a:xfrm>
              <a:off x="1265865" y="1868608"/>
              <a:ext cx="2248663" cy="1873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1" y="2651"/>
                  </a:moveTo>
                  <a:cubicBezTo>
                    <a:pt x="14762" y="1825"/>
                    <a:pt x="14834" y="956"/>
                    <a:pt x="14834" y="87"/>
                  </a:cubicBezTo>
                  <a:cubicBezTo>
                    <a:pt x="14834" y="43"/>
                    <a:pt x="14834" y="0"/>
                    <a:pt x="14834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43"/>
                    <a:pt x="21600" y="87"/>
                  </a:cubicBezTo>
                  <a:cubicBezTo>
                    <a:pt x="21600" y="1043"/>
                    <a:pt x="21528" y="1999"/>
                    <a:pt x="21419" y="2955"/>
                  </a:cubicBezTo>
                  <a:cubicBezTo>
                    <a:pt x="20949" y="6954"/>
                    <a:pt x="19465" y="10474"/>
                    <a:pt x="16969" y="13473"/>
                  </a:cubicBezTo>
                  <a:cubicBezTo>
                    <a:pt x="13893" y="17167"/>
                    <a:pt x="10167" y="18992"/>
                    <a:pt x="5825" y="18992"/>
                  </a:cubicBezTo>
                  <a:cubicBezTo>
                    <a:pt x="5825" y="18992"/>
                    <a:pt x="5789" y="18992"/>
                    <a:pt x="5789" y="18992"/>
                  </a:cubicBezTo>
                  <a:cubicBezTo>
                    <a:pt x="5789" y="21600"/>
                    <a:pt x="5789" y="21600"/>
                    <a:pt x="5789" y="21600"/>
                  </a:cubicBezTo>
                  <a:cubicBezTo>
                    <a:pt x="0" y="14820"/>
                    <a:pt x="0" y="14820"/>
                    <a:pt x="0" y="14820"/>
                  </a:cubicBezTo>
                  <a:cubicBezTo>
                    <a:pt x="5789" y="8040"/>
                    <a:pt x="5789" y="8040"/>
                    <a:pt x="5789" y="8040"/>
                  </a:cubicBezTo>
                  <a:cubicBezTo>
                    <a:pt x="5789" y="10865"/>
                    <a:pt x="5789" y="10865"/>
                    <a:pt x="5789" y="10865"/>
                  </a:cubicBezTo>
                  <a:cubicBezTo>
                    <a:pt x="5789" y="10865"/>
                    <a:pt x="5825" y="10865"/>
                    <a:pt x="5825" y="10865"/>
                  </a:cubicBezTo>
                  <a:cubicBezTo>
                    <a:pt x="8322" y="10865"/>
                    <a:pt x="10420" y="9822"/>
                    <a:pt x="12193" y="7693"/>
                  </a:cubicBezTo>
                  <a:cubicBezTo>
                    <a:pt x="13423" y="6215"/>
                    <a:pt x="14219" y="4520"/>
                    <a:pt x="14581" y="2651"/>
                  </a:cubicBezTo>
                  <a:close/>
                </a:path>
              </a:pathLst>
            </a:custGeom>
            <a:solidFill>
              <a:srgbClr val="364F98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Freeform 7"/>
            <p:cNvSpPr/>
            <p:nvPr/>
          </p:nvSpPr>
          <p:spPr>
            <a:xfrm>
              <a:off x="1868583" y="229003"/>
              <a:ext cx="1874948" cy="2250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06" y="181"/>
                  </a:moveTo>
                  <a:cubicBezTo>
                    <a:pt x="6896" y="651"/>
                    <a:pt x="10410" y="2135"/>
                    <a:pt x="13402" y="4667"/>
                  </a:cubicBezTo>
                  <a:cubicBezTo>
                    <a:pt x="17089" y="7707"/>
                    <a:pt x="18911" y="11397"/>
                    <a:pt x="18954" y="15739"/>
                  </a:cubicBezTo>
                  <a:cubicBezTo>
                    <a:pt x="21600" y="15739"/>
                    <a:pt x="21600" y="15739"/>
                    <a:pt x="21600" y="15739"/>
                  </a:cubicBezTo>
                  <a:cubicBezTo>
                    <a:pt x="14790" y="21600"/>
                    <a:pt x="14790" y="21600"/>
                    <a:pt x="14790" y="21600"/>
                  </a:cubicBezTo>
                  <a:cubicBezTo>
                    <a:pt x="7981" y="15739"/>
                    <a:pt x="7981" y="15739"/>
                    <a:pt x="7981" y="15739"/>
                  </a:cubicBezTo>
                  <a:cubicBezTo>
                    <a:pt x="10843" y="15739"/>
                    <a:pt x="10843" y="15739"/>
                    <a:pt x="10843" y="15739"/>
                  </a:cubicBezTo>
                  <a:cubicBezTo>
                    <a:pt x="10800" y="13278"/>
                    <a:pt x="9759" y="11180"/>
                    <a:pt x="7677" y="9443"/>
                  </a:cubicBezTo>
                  <a:cubicBezTo>
                    <a:pt x="6202" y="8213"/>
                    <a:pt x="4511" y="7417"/>
                    <a:pt x="2602" y="7019"/>
                  </a:cubicBezTo>
                  <a:cubicBezTo>
                    <a:pt x="1778" y="6874"/>
                    <a:pt x="911" y="6802"/>
                    <a:pt x="43" y="6802"/>
                  </a:cubicBezTo>
                  <a:cubicBezTo>
                    <a:pt x="43" y="6802"/>
                    <a:pt x="0" y="6802"/>
                    <a:pt x="0" y="68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0"/>
                    <a:pt x="43" y="0"/>
                  </a:cubicBezTo>
                  <a:cubicBezTo>
                    <a:pt x="1041" y="0"/>
                    <a:pt x="1995" y="72"/>
                    <a:pt x="2906" y="181"/>
                  </a:cubicBezTo>
                  <a:close/>
                </a:path>
              </a:pathLst>
            </a:custGeom>
            <a:solidFill>
              <a:srgbClr val="5088C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Freeform 8"/>
            <p:cNvSpPr/>
            <p:nvPr/>
          </p:nvSpPr>
          <p:spPr>
            <a:xfrm>
              <a:off x="229001" y="0"/>
              <a:ext cx="2242303" cy="1868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85" y="14719"/>
                  </a:moveTo>
                  <a:cubicBezTo>
                    <a:pt x="3485" y="14719"/>
                    <a:pt x="3449" y="14719"/>
                    <a:pt x="3449" y="14719"/>
                  </a:cubicBezTo>
                  <a:cubicBezTo>
                    <a:pt x="3485" y="14719"/>
                    <a:pt x="3485" y="14719"/>
                    <a:pt x="3485" y="14719"/>
                  </a:cubicBezTo>
                  <a:close/>
                  <a:moveTo>
                    <a:pt x="15792" y="0"/>
                  </a:moveTo>
                  <a:cubicBezTo>
                    <a:pt x="21600" y="6837"/>
                    <a:pt x="21600" y="6837"/>
                    <a:pt x="21600" y="6837"/>
                  </a:cubicBezTo>
                  <a:cubicBezTo>
                    <a:pt x="15792" y="13674"/>
                    <a:pt x="15792" y="13674"/>
                    <a:pt x="15792" y="13674"/>
                  </a:cubicBezTo>
                  <a:cubicBezTo>
                    <a:pt x="15792" y="10844"/>
                    <a:pt x="15792" y="10844"/>
                    <a:pt x="15792" y="10844"/>
                  </a:cubicBezTo>
                  <a:cubicBezTo>
                    <a:pt x="13323" y="10844"/>
                    <a:pt x="11217" y="11889"/>
                    <a:pt x="9439" y="14023"/>
                  </a:cubicBezTo>
                  <a:cubicBezTo>
                    <a:pt x="8241" y="15503"/>
                    <a:pt x="7406" y="17158"/>
                    <a:pt x="7043" y="19031"/>
                  </a:cubicBezTo>
                  <a:cubicBezTo>
                    <a:pt x="6897" y="19858"/>
                    <a:pt x="6789" y="20685"/>
                    <a:pt x="6789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0598"/>
                    <a:pt x="73" y="19640"/>
                    <a:pt x="182" y="18682"/>
                  </a:cubicBezTo>
                  <a:cubicBezTo>
                    <a:pt x="653" y="14719"/>
                    <a:pt x="2142" y="11235"/>
                    <a:pt x="4647" y="8274"/>
                  </a:cubicBezTo>
                  <a:cubicBezTo>
                    <a:pt x="7732" y="4529"/>
                    <a:pt x="11435" y="2700"/>
                    <a:pt x="15792" y="2656"/>
                  </a:cubicBezTo>
                  <a:lnTo>
                    <a:pt x="15792" y="0"/>
                  </a:lnTo>
                  <a:close/>
                </a:path>
              </a:pathLst>
            </a:custGeom>
            <a:solidFill>
              <a:srgbClr val="9FC8BA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defTabSz="1375467">
                <a:defRPr sz="2600"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1" name="Text Placeholder 3"/>
          <p:cNvSpPr txBox="1"/>
          <p:nvPr userDrawn="1"/>
        </p:nvSpPr>
        <p:spPr>
          <a:xfrm>
            <a:off x="5959197" y="2541423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2</a:t>
            </a:r>
          </a:p>
        </p:txBody>
      </p:sp>
      <p:sp>
        <p:nvSpPr>
          <p:cNvPr id="22" name="Text Placeholder 3"/>
          <p:cNvSpPr txBox="1"/>
          <p:nvPr userDrawn="1"/>
        </p:nvSpPr>
        <p:spPr>
          <a:xfrm>
            <a:off x="7219508" y="3815887"/>
            <a:ext cx="293232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3</a:t>
            </a:r>
          </a:p>
        </p:txBody>
      </p:sp>
      <p:sp>
        <p:nvSpPr>
          <p:cNvPr id="23" name="Text Placeholder 3"/>
          <p:cNvSpPr txBox="1"/>
          <p:nvPr userDrawn="1"/>
        </p:nvSpPr>
        <p:spPr>
          <a:xfrm>
            <a:off x="5897445" y="5113409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4</a:t>
            </a:r>
          </a:p>
        </p:txBody>
      </p:sp>
      <p:sp>
        <p:nvSpPr>
          <p:cNvPr id="29" name="TextBox 52"/>
          <p:cNvSpPr txBox="1"/>
          <p:nvPr userDrawn="1"/>
        </p:nvSpPr>
        <p:spPr>
          <a:xfrm>
            <a:off x="7769955" y="2664285"/>
            <a:ext cx="2280193" cy="7620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defTabSz="1219168">
              <a:spcBef>
                <a:spcPts val="300"/>
              </a:spcBef>
              <a:defRPr sz="13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Lorem ipsum dolor sit amet, consectetur adipiscing elit, sed do eiusmod tempor incididunt ut labore et dolore magna aliqua. </a:t>
            </a:r>
          </a:p>
        </p:txBody>
      </p:sp>
      <p:sp>
        <p:nvSpPr>
          <p:cNvPr id="37" name="Freeform 9"/>
          <p:cNvSpPr/>
          <p:nvPr userDrawn="1"/>
        </p:nvSpPr>
        <p:spPr>
          <a:xfrm>
            <a:off x="4215827" y="3523415"/>
            <a:ext cx="1178404" cy="721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2" y="21600"/>
                </a:moveTo>
                <a:cubicBezTo>
                  <a:pt x="4279" y="21600"/>
                  <a:pt x="4279" y="21600"/>
                  <a:pt x="4279" y="21600"/>
                </a:cubicBezTo>
                <a:cubicBezTo>
                  <a:pt x="4210" y="20475"/>
                  <a:pt x="4210" y="19238"/>
                  <a:pt x="4210" y="18000"/>
                </a:cubicBezTo>
                <a:cubicBezTo>
                  <a:pt x="4210" y="17888"/>
                  <a:pt x="4210" y="17775"/>
                  <a:pt x="4210" y="17775"/>
                </a:cubicBezTo>
                <a:cubicBezTo>
                  <a:pt x="0" y="17775"/>
                  <a:pt x="0" y="17775"/>
                  <a:pt x="0" y="17775"/>
                </a:cubicBezTo>
                <a:cubicBezTo>
                  <a:pt x="10835" y="0"/>
                  <a:pt x="10835" y="0"/>
                  <a:pt x="10835" y="0"/>
                </a:cubicBezTo>
                <a:cubicBezTo>
                  <a:pt x="21600" y="17775"/>
                  <a:pt x="21600" y="17775"/>
                  <a:pt x="21600" y="17775"/>
                </a:cubicBezTo>
                <a:cubicBezTo>
                  <a:pt x="17114" y="17775"/>
                  <a:pt x="17114" y="17775"/>
                  <a:pt x="17114" y="17775"/>
                </a:cubicBezTo>
                <a:cubicBezTo>
                  <a:pt x="17114" y="17775"/>
                  <a:pt x="17114" y="17888"/>
                  <a:pt x="17114" y="18000"/>
                </a:cubicBezTo>
                <a:cubicBezTo>
                  <a:pt x="17114" y="19238"/>
                  <a:pt x="17183" y="20475"/>
                  <a:pt x="17252" y="21600"/>
                </a:cubicBezTo>
                <a:close/>
              </a:path>
            </a:pathLst>
          </a:custGeom>
          <a:solidFill>
            <a:srgbClr val="F4CF30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1375467">
              <a:defRPr sz="2600"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38" name="Text Placeholder 3"/>
          <p:cNvSpPr txBox="1"/>
          <p:nvPr userDrawn="1"/>
        </p:nvSpPr>
        <p:spPr>
          <a:xfrm>
            <a:off x="4674401" y="3815887"/>
            <a:ext cx="293231" cy="584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b">
            <a:spAutoFit/>
          </a:bodyPr>
          <a:lstStyle>
            <a:lvl1pPr algn="ctr" defTabSz="1219168">
              <a:spcBef>
                <a:spcPts val="800"/>
              </a:spcBef>
              <a:defRPr sz="37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1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46" name="Text Placeholder 25"/>
          <p:cNvSpPr>
            <a:spLocks noGrp="1"/>
          </p:cNvSpPr>
          <p:nvPr>
            <p:ph type="body" sz="quarter" idx="56" hasCustomPrompt="1"/>
          </p:nvPr>
        </p:nvSpPr>
        <p:spPr>
          <a:xfrm>
            <a:off x="1607736" y="2350036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1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57" hasCustomPrompt="1"/>
          </p:nvPr>
        </p:nvSpPr>
        <p:spPr>
          <a:xfrm>
            <a:off x="1607736" y="2615458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48" name="Text Placeholder 25"/>
          <p:cNvSpPr>
            <a:spLocks noGrp="1"/>
          </p:cNvSpPr>
          <p:nvPr>
            <p:ph type="body" sz="quarter" idx="58" hasCustomPrompt="1"/>
          </p:nvPr>
        </p:nvSpPr>
        <p:spPr>
          <a:xfrm>
            <a:off x="1607736" y="5025644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60" hasCustomPrompt="1"/>
          </p:nvPr>
        </p:nvSpPr>
        <p:spPr>
          <a:xfrm>
            <a:off x="1607736" y="5299616"/>
            <a:ext cx="2683967" cy="810829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7877121" y="235003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62" hasCustomPrompt="1"/>
          </p:nvPr>
        </p:nvSpPr>
        <p:spPr>
          <a:xfrm>
            <a:off x="7877121" y="2615458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3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7877121" y="502564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364F98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54" name="Text Placeholder 25"/>
          <p:cNvSpPr>
            <a:spLocks noGrp="1"/>
          </p:cNvSpPr>
          <p:nvPr>
            <p:ph type="body" sz="quarter" idx="64" hasCustomPrompt="1"/>
          </p:nvPr>
        </p:nvSpPr>
        <p:spPr>
          <a:xfrm>
            <a:off x="7877121" y="5299616"/>
            <a:ext cx="2683967" cy="8108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baseline="0">
                <a:solidFill>
                  <a:schemeClr val="accent2"/>
                </a:solidFill>
              </a:defRPr>
            </a:lvl1pPr>
          </a:lstStyle>
          <a:p>
            <a:r>
              <a:rPr lang="pt-PT" err="1">
                <a:solidFill>
                  <a:schemeClr val="accent2"/>
                </a:solidFill>
              </a:rPr>
              <a:t>Lore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psum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si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me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consectetu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adipiscing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elit</a:t>
            </a:r>
            <a:r>
              <a:rPr lang="pt-PT">
                <a:solidFill>
                  <a:schemeClr val="accent2"/>
                </a:solidFill>
              </a:rPr>
              <a:t>, </a:t>
            </a:r>
            <a:r>
              <a:rPr lang="pt-PT" err="1">
                <a:solidFill>
                  <a:schemeClr val="accent2"/>
                </a:solidFill>
              </a:rPr>
              <a:t>sed</a:t>
            </a:r>
            <a:r>
              <a:rPr lang="pt-PT">
                <a:solidFill>
                  <a:schemeClr val="accent2"/>
                </a:solidFill>
              </a:rPr>
              <a:t> do </a:t>
            </a:r>
            <a:r>
              <a:rPr lang="pt-PT" err="1">
                <a:solidFill>
                  <a:schemeClr val="accent2"/>
                </a:solidFill>
              </a:rPr>
              <a:t>eiusmod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tempor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incididunt</a:t>
            </a:r>
            <a:r>
              <a:rPr lang="pt-PT">
                <a:solidFill>
                  <a:schemeClr val="accent2"/>
                </a:solidFill>
              </a:rPr>
              <a:t> ut labore </a:t>
            </a:r>
            <a:r>
              <a:rPr lang="pt-PT" err="1">
                <a:solidFill>
                  <a:schemeClr val="accent2"/>
                </a:solidFill>
              </a:rPr>
              <a:t>et</a:t>
            </a:r>
            <a:r>
              <a:rPr lang="pt-PT">
                <a:solidFill>
                  <a:schemeClr val="accent2"/>
                </a:solidFill>
              </a:rPr>
              <a:t> </a:t>
            </a:r>
            <a:r>
              <a:rPr lang="pt-PT" err="1">
                <a:solidFill>
                  <a:schemeClr val="accent2"/>
                </a:solidFill>
              </a:rPr>
              <a:t>dolore</a:t>
            </a:r>
            <a:r>
              <a:rPr lang="pt-PT">
                <a:solidFill>
                  <a:schemeClr val="accent2"/>
                </a:solidFill>
              </a:rPr>
              <a:t> magna </a:t>
            </a:r>
            <a:r>
              <a:rPr lang="pt-PT" err="1">
                <a:solidFill>
                  <a:schemeClr val="accent2"/>
                </a:solidFill>
              </a:rPr>
              <a:t>aliqua</a:t>
            </a:r>
            <a:r>
              <a:rPr lang="pt-PT">
                <a:solidFill>
                  <a:schemeClr val="accent2"/>
                </a:solidFill>
              </a:rPr>
              <a:t>.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66554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42574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 flipH="1">
            <a:off x="6085254" y="2820318"/>
            <a:ext cx="15505" cy="3340615"/>
          </a:xfrm>
          <a:prstGeom prst="line">
            <a:avLst/>
          </a:prstGeom>
          <a:noFill/>
          <a:ln w="19050" cap="flat">
            <a:solidFill>
              <a:schemeClr val="accent5"/>
            </a:solidFill>
            <a:prstDash val="solid"/>
            <a:round/>
            <a:headEnd type="oval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Oval 24"/>
          <p:cNvSpPr/>
          <p:nvPr userDrawn="1"/>
        </p:nvSpPr>
        <p:spPr>
          <a:xfrm>
            <a:off x="6006000" y="331843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Oval 40"/>
          <p:cNvSpPr/>
          <p:nvPr userDrawn="1"/>
        </p:nvSpPr>
        <p:spPr>
          <a:xfrm>
            <a:off x="6014125" y="4396312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Oval 41"/>
          <p:cNvSpPr/>
          <p:nvPr userDrawn="1"/>
        </p:nvSpPr>
        <p:spPr>
          <a:xfrm>
            <a:off x="6006000" y="5474187"/>
            <a:ext cx="180000" cy="18000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3" hasCustomPrompt="1"/>
          </p:nvPr>
        </p:nvSpPr>
        <p:spPr>
          <a:xfrm>
            <a:off x="1296237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44" hasCustomPrompt="1"/>
          </p:nvPr>
        </p:nvSpPr>
        <p:spPr>
          <a:xfrm>
            <a:off x="1301186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45" hasCustomPrompt="1"/>
          </p:nvPr>
        </p:nvSpPr>
        <p:spPr>
          <a:xfrm>
            <a:off x="1296237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5" name="Text Placeholder 26"/>
          <p:cNvSpPr>
            <a:spLocks noGrp="1"/>
          </p:cNvSpPr>
          <p:nvPr>
            <p:ph type="body" sz="quarter" idx="46" hasCustomPrompt="1"/>
          </p:nvPr>
        </p:nvSpPr>
        <p:spPr>
          <a:xfrm>
            <a:off x="6649642" y="3125141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6" name="Text Placeholder 26"/>
          <p:cNvSpPr>
            <a:spLocks noGrp="1"/>
          </p:cNvSpPr>
          <p:nvPr>
            <p:ph type="body" sz="quarter" idx="47" hasCustomPrompt="1"/>
          </p:nvPr>
        </p:nvSpPr>
        <p:spPr>
          <a:xfrm>
            <a:off x="6649641" y="4205342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57" name="Text Placeholder 26"/>
          <p:cNvSpPr>
            <a:spLocks noGrp="1"/>
          </p:cNvSpPr>
          <p:nvPr>
            <p:ph type="body" sz="quarter" idx="48" hasCustomPrompt="1"/>
          </p:nvPr>
        </p:nvSpPr>
        <p:spPr>
          <a:xfrm>
            <a:off x="6648604" y="5283217"/>
            <a:ext cx="4241173" cy="561940"/>
          </a:xfrm>
        </p:spPr>
        <p:txBody>
          <a:bodyPr anchor="ctr">
            <a:normAutofit/>
          </a:bodyPr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 </a:t>
            </a:r>
            <a:r>
              <a:rPr lang="pt-PT" err="1"/>
              <a:t>quae</a:t>
            </a:r>
            <a:r>
              <a:rPr lang="pt-PT"/>
              <a:t> </a:t>
            </a:r>
            <a:r>
              <a:rPr lang="pt-PT" err="1"/>
              <a:t>ab</a:t>
            </a:r>
            <a:r>
              <a:rPr lang="pt-PT"/>
              <a:t> </a:t>
            </a:r>
            <a:r>
              <a:rPr lang="pt-PT" err="1"/>
              <a:t>illo</a:t>
            </a:r>
            <a:r>
              <a:rPr lang="pt-PT"/>
              <a:t>.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489017" y="2068508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59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6841384" y="2068507"/>
            <a:ext cx="3855612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Option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cxnSp>
        <p:nvCxnSpPr>
          <p:cNvPr id="20" name="Straight Connector 1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22051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899091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570980" y="466939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279019" y="467154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35355" y="1552965"/>
            <a:ext cx="10366489" cy="761569"/>
          </a:xfrm>
          <a:prstGeom prst="rect">
            <a:avLst/>
          </a:prstGeom>
          <a:noFill/>
          <a:ln w="571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47" hasCustomPrompt="1"/>
          </p:nvPr>
        </p:nvSpPr>
        <p:spPr>
          <a:xfrm>
            <a:off x="1102283" y="487059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3774172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6487989" y="488647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51" hasCustomPrompt="1"/>
          </p:nvPr>
        </p:nvSpPr>
        <p:spPr>
          <a:xfrm>
            <a:off x="1102283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52" hasCustomPrompt="1"/>
          </p:nvPr>
        </p:nvSpPr>
        <p:spPr>
          <a:xfrm>
            <a:off x="3770688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53" hasCustomPrompt="1"/>
          </p:nvPr>
        </p:nvSpPr>
        <p:spPr>
          <a:xfrm>
            <a:off x="6480468" y="534823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56" hasCustomPrompt="1"/>
          </p:nvPr>
        </p:nvSpPr>
        <p:spPr>
          <a:xfrm>
            <a:off x="1190464" y="1691324"/>
            <a:ext cx="9841705" cy="632674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, </a:t>
            </a:r>
            <a:r>
              <a:rPr lang="pt-PT" err="1"/>
              <a:t>eaque</a:t>
            </a:r>
            <a:r>
              <a:rPr lang="pt-PT"/>
              <a:t> </a:t>
            </a:r>
            <a:r>
              <a:rPr lang="pt-PT" err="1"/>
              <a:t>ipsa</a:t>
            </a:r>
            <a:r>
              <a:rPr lang="pt-PT"/>
              <a:t>.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 userDrawn="1"/>
        </p:nvSpPr>
        <p:spPr>
          <a:xfrm>
            <a:off x="8985227" y="466939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58" hasCustomPrompt="1"/>
          </p:nvPr>
        </p:nvSpPr>
        <p:spPr>
          <a:xfrm>
            <a:off x="9194197" y="488432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9" name="Text Placeholder 27"/>
          <p:cNvSpPr>
            <a:spLocks noGrp="1"/>
          </p:cNvSpPr>
          <p:nvPr>
            <p:ph type="body" sz="quarter" idx="59" hasCustomPrompt="1"/>
          </p:nvPr>
        </p:nvSpPr>
        <p:spPr>
          <a:xfrm>
            <a:off x="9186676" y="534607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40" name="Rectangle 39"/>
          <p:cNvSpPr/>
          <p:nvPr userDrawn="1"/>
        </p:nvSpPr>
        <p:spPr>
          <a:xfrm>
            <a:off x="906209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3578098" y="2608433"/>
            <a:ext cx="2316617" cy="190741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6286137" y="2610588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46" name="Text Placeholder 17"/>
          <p:cNvSpPr>
            <a:spLocks noGrp="1"/>
          </p:cNvSpPr>
          <p:nvPr>
            <p:ph type="body" sz="quarter" idx="63" hasCustomPrompt="1"/>
          </p:nvPr>
        </p:nvSpPr>
        <p:spPr>
          <a:xfrm>
            <a:off x="1109401" y="280963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64" hasCustomPrompt="1"/>
          </p:nvPr>
        </p:nvSpPr>
        <p:spPr>
          <a:xfrm>
            <a:off x="3781290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8" name="Text Placeholder 17"/>
          <p:cNvSpPr>
            <a:spLocks noGrp="1"/>
          </p:cNvSpPr>
          <p:nvPr>
            <p:ph type="body" sz="quarter" idx="65" hasCustomPrompt="1"/>
          </p:nvPr>
        </p:nvSpPr>
        <p:spPr>
          <a:xfrm>
            <a:off x="6495107" y="2825518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9" name="Text Placeholder 27"/>
          <p:cNvSpPr>
            <a:spLocks noGrp="1"/>
          </p:cNvSpPr>
          <p:nvPr>
            <p:ph type="body" sz="quarter" idx="66" hasCustomPrompt="1"/>
          </p:nvPr>
        </p:nvSpPr>
        <p:spPr>
          <a:xfrm>
            <a:off x="1109401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0" name="Text Placeholder 27"/>
          <p:cNvSpPr>
            <a:spLocks noGrp="1"/>
          </p:cNvSpPr>
          <p:nvPr>
            <p:ph type="body" sz="quarter" idx="67" hasCustomPrompt="1"/>
          </p:nvPr>
        </p:nvSpPr>
        <p:spPr>
          <a:xfrm>
            <a:off x="3777806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1" name="Text Placeholder 27"/>
          <p:cNvSpPr>
            <a:spLocks noGrp="1"/>
          </p:cNvSpPr>
          <p:nvPr>
            <p:ph type="body" sz="quarter" idx="68" hasCustomPrompt="1"/>
          </p:nvPr>
        </p:nvSpPr>
        <p:spPr>
          <a:xfrm>
            <a:off x="6487586" y="3287271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  <p:sp>
        <p:nvSpPr>
          <p:cNvPr id="52" name="Rectangle 51"/>
          <p:cNvSpPr/>
          <p:nvPr userDrawn="1"/>
        </p:nvSpPr>
        <p:spPr>
          <a:xfrm>
            <a:off x="8992345" y="2608433"/>
            <a:ext cx="2316617" cy="1896358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4" name="Text Placeholder 17"/>
          <p:cNvSpPr>
            <a:spLocks noGrp="1"/>
          </p:cNvSpPr>
          <p:nvPr>
            <p:ph type="body" sz="quarter" idx="70" hasCustomPrompt="1"/>
          </p:nvPr>
        </p:nvSpPr>
        <p:spPr>
          <a:xfrm>
            <a:off x="9201315" y="2823363"/>
            <a:ext cx="1910231" cy="312719"/>
          </a:xfrm>
          <a:ln w="57150"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5" name="Text Placeholder 27"/>
          <p:cNvSpPr>
            <a:spLocks noGrp="1"/>
          </p:cNvSpPr>
          <p:nvPr>
            <p:ph type="body" sz="quarter" idx="71" hasCustomPrompt="1"/>
          </p:nvPr>
        </p:nvSpPr>
        <p:spPr>
          <a:xfrm>
            <a:off x="9193794" y="3285116"/>
            <a:ext cx="1913715" cy="1269205"/>
          </a:xfrm>
          <a:ln w="57150">
            <a:noFill/>
          </a:ln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632418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evelopment Slide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43"/>
          </p:nvPr>
        </p:nvSpPr>
        <p:spPr>
          <a:xfrm>
            <a:off x="0" y="-4151"/>
            <a:ext cx="12192000" cy="6862152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60777" y="2373839"/>
            <a:ext cx="5685263" cy="92516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6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pt-PT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860777" y="34704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46" hasCustomPrompt="1"/>
          </p:nvPr>
        </p:nvSpPr>
        <p:spPr>
          <a:xfrm>
            <a:off x="860777" y="40133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47" hasCustomPrompt="1"/>
          </p:nvPr>
        </p:nvSpPr>
        <p:spPr>
          <a:xfrm>
            <a:off x="860777" y="4556251"/>
            <a:ext cx="5685263" cy="294785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rite and highlight key words in yellow</a:t>
            </a:r>
            <a:endParaRPr lang="pt-PT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 hasCustomPrompt="1"/>
          </p:nvPr>
        </p:nvSpPr>
        <p:spPr>
          <a:xfrm>
            <a:off x="8218449" y="1542156"/>
            <a:ext cx="3973551" cy="4183915"/>
          </a:xfrm>
          <a:solidFill>
            <a:schemeClr val="accent5"/>
          </a:solidFill>
        </p:spPr>
        <p:txBody>
          <a:bodyPr lIns="274320" tIns="640080" rIns="274320" bIns="0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aseline="0"/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50" hasCustomPrompt="1"/>
          </p:nvPr>
        </p:nvSpPr>
        <p:spPr>
          <a:xfrm>
            <a:off x="8225284" y="3541890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51" hasCustomPrompt="1"/>
          </p:nvPr>
        </p:nvSpPr>
        <p:spPr>
          <a:xfrm>
            <a:off x="8225285" y="2043871"/>
            <a:ext cx="3966716" cy="1240994"/>
          </a:xfrm>
        </p:spPr>
        <p:txBody>
          <a:bodyPr lIns="274320" rIns="274320">
            <a:noAutofit/>
          </a:bodyPr>
          <a:lstStyle>
            <a:lvl1pPr marL="0" indent="0" algn="r">
              <a:buNone/>
              <a:defRPr sz="28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endParaRPr lang="pt-PT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52" hasCustomPrompt="1"/>
          </p:nvPr>
        </p:nvSpPr>
        <p:spPr>
          <a:xfrm>
            <a:off x="8225284" y="3846891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53" hasCustomPrompt="1"/>
          </p:nvPr>
        </p:nvSpPr>
        <p:spPr>
          <a:xfrm>
            <a:off x="8225284" y="4151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54" hasCustomPrompt="1"/>
          </p:nvPr>
        </p:nvSpPr>
        <p:spPr>
          <a:xfrm>
            <a:off x="8225284" y="4456892"/>
            <a:ext cx="3973551" cy="198719"/>
          </a:xfrm>
        </p:spPr>
        <p:txBody>
          <a:bodyPr lIns="274320" rIns="274320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endParaRPr lang="pt-PT"/>
          </a:p>
          <a:p>
            <a:pPr lvl="0"/>
            <a:endParaRPr lang="pt-PT"/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id="{7239B701-1A77-3448-8D6A-FD2FE2D871D9}"/>
              </a:ext>
            </a:extLst>
          </p:cNvPr>
          <p:cNvCxnSpPr>
            <a:cxnSpLocks/>
          </p:cNvCxnSpPr>
          <p:nvPr userDrawn="1"/>
        </p:nvCxnSpPr>
        <p:spPr>
          <a:xfrm>
            <a:off x="685800" y="-16852"/>
            <a:ext cx="0" cy="3301717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24957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>
            <a:off x="-1" y="3158429"/>
            <a:ext cx="12192002" cy="2"/>
          </a:xfrm>
          <a:prstGeom prst="line">
            <a:avLst/>
          </a:prstGeom>
          <a:ln w="28575">
            <a:solidFill>
              <a:srgbClr val="16385F"/>
            </a:solidFill>
            <a:prstDash val="sysDot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446091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50" hasCustomPrompt="1"/>
          </p:nvPr>
        </p:nvSpPr>
        <p:spPr>
          <a:xfrm>
            <a:off x="2433246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4420401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52" hasCustomPrompt="1"/>
          </p:nvPr>
        </p:nvSpPr>
        <p:spPr>
          <a:xfrm>
            <a:off x="6407556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8394709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19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375343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" name="Text Placeholder 29"/>
          <p:cNvSpPr>
            <a:spLocks noGrp="1"/>
          </p:cNvSpPr>
          <p:nvPr>
            <p:ph type="body" sz="quarter" idx="55" hasCustomPrompt="1"/>
          </p:nvPr>
        </p:nvSpPr>
        <p:spPr>
          <a:xfrm>
            <a:off x="2362498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6" hasCustomPrompt="1"/>
          </p:nvPr>
        </p:nvSpPr>
        <p:spPr>
          <a:xfrm>
            <a:off x="4349653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7" hasCustomPrompt="1"/>
          </p:nvPr>
        </p:nvSpPr>
        <p:spPr>
          <a:xfrm>
            <a:off x="6336808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58" hasCustomPrompt="1"/>
          </p:nvPr>
        </p:nvSpPr>
        <p:spPr>
          <a:xfrm>
            <a:off x="8323961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375343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2362498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4349653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6336808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8323961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64" hasCustomPrompt="1"/>
          </p:nvPr>
        </p:nvSpPr>
        <p:spPr>
          <a:xfrm>
            <a:off x="613569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65" hasCustomPrompt="1"/>
          </p:nvPr>
        </p:nvSpPr>
        <p:spPr>
          <a:xfrm>
            <a:off x="8562187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66" hasCustomPrompt="1"/>
          </p:nvPr>
        </p:nvSpPr>
        <p:spPr>
          <a:xfrm>
            <a:off x="2600723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4587877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68" hasCustomPrompt="1"/>
          </p:nvPr>
        </p:nvSpPr>
        <p:spPr>
          <a:xfrm>
            <a:off x="6575032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10381864" y="2083017"/>
            <a:ext cx="1414957" cy="326159"/>
          </a:xfrm>
        </p:spPr>
        <p:txBody>
          <a:bodyPr>
            <a:noAutofit/>
          </a:bodyPr>
          <a:lstStyle>
            <a:lvl1pPr marL="0" indent="0" algn="ctr">
              <a:buNone/>
              <a:defRPr sz="2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Date</a:t>
            </a:r>
          </a:p>
        </p:txBody>
      </p:sp>
      <p:sp>
        <p:nvSpPr>
          <p:cNvPr id="36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10311116" y="4199636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10311116" y="4495078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  <p:sp>
        <p:nvSpPr>
          <p:cNvPr id="38" name="Text Placeholder 12"/>
          <p:cNvSpPr>
            <a:spLocks noGrp="1"/>
          </p:cNvSpPr>
          <p:nvPr>
            <p:ph type="body" sz="quarter" idx="72" hasCustomPrompt="1"/>
          </p:nvPr>
        </p:nvSpPr>
        <p:spPr>
          <a:xfrm>
            <a:off x="10549342" y="2625288"/>
            <a:ext cx="1080000" cy="1080000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610097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5076604"/>
            <a:ext cx="12192003" cy="17813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oup 15"/>
          <p:cNvGrpSpPr/>
          <p:nvPr userDrawn="1"/>
        </p:nvGrpSpPr>
        <p:grpSpPr>
          <a:xfrm>
            <a:off x="-3" y="2347682"/>
            <a:ext cx="12192006" cy="2751590"/>
            <a:chOff x="-1" y="0"/>
            <a:chExt cx="12192005" cy="2751589"/>
          </a:xfrm>
        </p:grpSpPr>
        <p:sp>
          <p:nvSpPr>
            <p:cNvPr id="5" name="Freeform 9"/>
            <p:cNvSpPr/>
            <p:nvPr/>
          </p:nvSpPr>
          <p:spPr>
            <a:xfrm>
              <a:off x="-2" y="-1"/>
              <a:ext cx="12192007" cy="117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5" y="15953"/>
                  </a:moveTo>
                  <a:lnTo>
                    <a:pt x="21485" y="12023"/>
                  </a:lnTo>
                  <a:lnTo>
                    <a:pt x="21254" y="12925"/>
                  </a:lnTo>
                  <a:lnTo>
                    <a:pt x="21024" y="12925"/>
                  </a:lnTo>
                  <a:lnTo>
                    <a:pt x="21024" y="15225"/>
                  </a:lnTo>
                  <a:lnTo>
                    <a:pt x="20925" y="15225"/>
                  </a:lnTo>
                  <a:lnTo>
                    <a:pt x="20925" y="11208"/>
                  </a:lnTo>
                  <a:lnTo>
                    <a:pt x="20723" y="11208"/>
                  </a:lnTo>
                  <a:lnTo>
                    <a:pt x="20723" y="13711"/>
                  </a:lnTo>
                  <a:lnTo>
                    <a:pt x="20647" y="13711"/>
                  </a:lnTo>
                  <a:lnTo>
                    <a:pt x="20647" y="14934"/>
                  </a:lnTo>
                  <a:lnTo>
                    <a:pt x="20551" y="14934"/>
                  </a:lnTo>
                  <a:lnTo>
                    <a:pt x="20551" y="17845"/>
                  </a:lnTo>
                  <a:lnTo>
                    <a:pt x="20425" y="17845"/>
                  </a:lnTo>
                  <a:lnTo>
                    <a:pt x="20425" y="12023"/>
                  </a:lnTo>
                  <a:lnTo>
                    <a:pt x="20369" y="11702"/>
                  </a:lnTo>
                  <a:lnTo>
                    <a:pt x="20369" y="10392"/>
                  </a:lnTo>
                  <a:lnTo>
                    <a:pt x="20281" y="9985"/>
                  </a:lnTo>
                  <a:lnTo>
                    <a:pt x="20273" y="7889"/>
                  </a:lnTo>
                  <a:lnTo>
                    <a:pt x="20273" y="9985"/>
                  </a:lnTo>
                  <a:lnTo>
                    <a:pt x="20186" y="10392"/>
                  </a:lnTo>
                  <a:lnTo>
                    <a:pt x="20186" y="11702"/>
                  </a:lnTo>
                  <a:lnTo>
                    <a:pt x="20138" y="12110"/>
                  </a:lnTo>
                  <a:lnTo>
                    <a:pt x="20138" y="16651"/>
                  </a:lnTo>
                  <a:lnTo>
                    <a:pt x="19992" y="16651"/>
                  </a:lnTo>
                  <a:lnTo>
                    <a:pt x="19992" y="17466"/>
                  </a:lnTo>
                  <a:lnTo>
                    <a:pt x="19877" y="17466"/>
                  </a:lnTo>
                  <a:lnTo>
                    <a:pt x="19877" y="18660"/>
                  </a:lnTo>
                  <a:lnTo>
                    <a:pt x="19840" y="18660"/>
                  </a:lnTo>
                  <a:lnTo>
                    <a:pt x="19840" y="14643"/>
                  </a:lnTo>
                  <a:lnTo>
                    <a:pt x="19646" y="14643"/>
                  </a:lnTo>
                  <a:lnTo>
                    <a:pt x="19646" y="15836"/>
                  </a:lnTo>
                  <a:lnTo>
                    <a:pt x="19590" y="15836"/>
                  </a:lnTo>
                  <a:lnTo>
                    <a:pt x="19590" y="12721"/>
                  </a:lnTo>
                  <a:lnTo>
                    <a:pt x="19550" y="12721"/>
                  </a:lnTo>
                  <a:lnTo>
                    <a:pt x="19550" y="10596"/>
                  </a:lnTo>
                  <a:lnTo>
                    <a:pt x="19542" y="10596"/>
                  </a:lnTo>
                  <a:lnTo>
                    <a:pt x="19542" y="9985"/>
                  </a:lnTo>
                  <a:lnTo>
                    <a:pt x="19491" y="9985"/>
                  </a:lnTo>
                  <a:lnTo>
                    <a:pt x="19407" y="7889"/>
                  </a:lnTo>
                  <a:lnTo>
                    <a:pt x="19396" y="4134"/>
                  </a:lnTo>
                  <a:lnTo>
                    <a:pt x="19387" y="7889"/>
                  </a:lnTo>
                  <a:lnTo>
                    <a:pt x="19292" y="9898"/>
                  </a:lnTo>
                  <a:lnTo>
                    <a:pt x="19241" y="9898"/>
                  </a:lnTo>
                  <a:lnTo>
                    <a:pt x="19241" y="10509"/>
                  </a:lnTo>
                  <a:lnTo>
                    <a:pt x="19233" y="10596"/>
                  </a:lnTo>
                  <a:lnTo>
                    <a:pt x="19233" y="12721"/>
                  </a:lnTo>
                  <a:lnTo>
                    <a:pt x="19185" y="12721"/>
                  </a:lnTo>
                  <a:lnTo>
                    <a:pt x="19185" y="12925"/>
                  </a:lnTo>
                  <a:lnTo>
                    <a:pt x="19089" y="12605"/>
                  </a:lnTo>
                  <a:lnTo>
                    <a:pt x="19089" y="17059"/>
                  </a:lnTo>
                  <a:lnTo>
                    <a:pt x="19070" y="17059"/>
                  </a:lnTo>
                  <a:lnTo>
                    <a:pt x="19070" y="17466"/>
                  </a:lnTo>
                  <a:lnTo>
                    <a:pt x="19002" y="17466"/>
                  </a:lnTo>
                  <a:lnTo>
                    <a:pt x="19002" y="15137"/>
                  </a:lnTo>
                  <a:lnTo>
                    <a:pt x="18800" y="15137"/>
                  </a:lnTo>
                  <a:lnTo>
                    <a:pt x="18800" y="18049"/>
                  </a:lnTo>
                  <a:lnTo>
                    <a:pt x="18665" y="18049"/>
                  </a:lnTo>
                  <a:lnTo>
                    <a:pt x="18665" y="12809"/>
                  </a:lnTo>
                  <a:lnTo>
                    <a:pt x="18462" y="12809"/>
                  </a:lnTo>
                  <a:lnTo>
                    <a:pt x="18462" y="18369"/>
                  </a:lnTo>
                  <a:lnTo>
                    <a:pt x="18291" y="18369"/>
                  </a:lnTo>
                  <a:lnTo>
                    <a:pt x="18291" y="18049"/>
                  </a:lnTo>
                  <a:lnTo>
                    <a:pt x="18193" y="18049"/>
                  </a:lnTo>
                  <a:lnTo>
                    <a:pt x="18193" y="17350"/>
                  </a:lnTo>
                  <a:lnTo>
                    <a:pt x="18108" y="17350"/>
                  </a:lnTo>
                  <a:lnTo>
                    <a:pt x="18108" y="15429"/>
                  </a:lnTo>
                  <a:lnTo>
                    <a:pt x="18077" y="15429"/>
                  </a:lnTo>
                  <a:lnTo>
                    <a:pt x="18077" y="15341"/>
                  </a:lnTo>
                  <a:lnTo>
                    <a:pt x="17875" y="15341"/>
                  </a:lnTo>
                  <a:lnTo>
                    <a:pt x="17875" y="17554"/>
                  </a:lnTo>
                  <a:lnTo>
                    <a:pt x="17827" y="17554"/>
                  </a:lnTo>
                  <a:lnTo>
                    <a:pt x="17827" y="5065"/>
                  </a:lnTo>
                  <a:lnTo>
                    <a:pt x="17493" y="5065"/>
                  </a:lnTo>
                  <a:lnTo>
                    <a:pt x="17493" y="18456"/>
                  </a:lnTo>
                  <a:lnTo>
                    <a:pt x="17374" y="18456"/>
                  </a:lnTo>
                  <a:lnTo>
                    <a:pt x="17374" y="5065"/>
                  </a:lnTo>
                  <a:lnTo>
                    <a:pt x="17009" y="5065"/>
                  </a:lnTo>
                  <a:lnTo>
                    <a:pt x="17009" y="13129"/>
                  </a:lnTo>
                  <a:lnTo>
                    <a:pt x="16933" y="13129"/>
                  </a:lnTo>
                  <a:lnTo>
                    <a:pt x="16933" y="17350"/>
                  </a:lnTo>
                  <a:lnTo>
                    <a:pt x="16790" y="16535"/>
                  </a:lnTo>
                  <a:lnTo>
                    <a:pt x="16790" y="12809"/>
                  </a:lnTo>
                  <a:lnTo>
                    <a:pt x="16674" y="11702"/>
                  </a:lnTo>
                  <a:lnTo>
                    <a:pt x="16559" y="12809"/>
                  </a:lnTo>
                  <a:lnTo>
                    <a:pt x="16548" y="15021"/>
                  </a:lnTo>
                  <a:lnTo>
                    <a:pt x="16528" y="15021"/>
                  </a:lnTo>
                  <a:lnTo>
                    <a:pt x="16528" y="15545"/>
                  </a:lnTo>
                  <a:lnTo>
                    <a:pt x="16520" y="15545"/>
                  </a:lnTo>
                  <a:lnTo>
                    <a:pt x="16520" y="14119"/>
                  </a:lnTo>
                  <a:lnTo>
                    <a:pt x="16258" y="14119"/>
                  </a:lnTo>
                  <a:lnTo>
                    <a:pt x="16258" y="16535"/>
                  </a:lnTo>
                  <a:lnTo>
                    <a:pt x="16143" y="16535"/>
                  </a:lnTo>
                  <a:lnTo>
                    <a:pt x="16143" y="16942"/>
                  </a:lnTo>
                  <a:lnTo>
                    <a:pt x="16087" y="16942"/>
                  </a:lnTo>
                  <a:lnTo>
                    <a:pt x="16087" y="16535"/>
                  </a:lnTo>
                  <a:lnTo>
                    <a:pt x="16028" y="16535"/>
                  </a:lnTo>
                  <a:lnTo>
                    <a:pt x="16028" y="15225"/>
                  </a:lnTo>
                  <a:lnTo>
                    <a:pt x="15856" y="14643"/>
                  </a:lnTo>
                  <a:lnTo>
                    <a:pt x="15856" y="14322"/>
                  </a:lnTo>
                  <a:lnTo>
                    <a:pt x="15741" y="14322"/>
                  </a:lnTo>
                  <a:lnTo>
                    <a:pt x="15741" y="13915"/>
                  </a:lnTo>
                  <a:lnTo>
                    <a:pt x="15682" y="13915"/>
                  </a:lnTo>
                  <a:lnTo>
                    <a:pt x="15682" y="13624"/>
                  </a:lnTo>
                  <a:lnTo>
                    <a:pt x="15662" y="13507"/>
                  </a:lnTo>
                  <a:lnTo>
                    <a:pt x="15626" y="9490"/>
                  </a:lnTo>
                  <a:lnTo>
                    <a:pt x="15595" y="13624"/>
                  </a:lnTo>
                  <a:lnTo>
                    <a:pt x="15575" y="13624"/>
                  </a:lnTo>
                  <a:lnTo>
                    <a:pt x="15575" y="14439"/>
                  </a:lnTo>
                  <a:lnTo>
                    <a:pt x="15567" y="14439"/>
                  </a:lnTo>
                  <a:lnTo>
                    <a:pt x="15567" y="14643"/>
                  </a:lnTo>
                  <a:lnTo>
                    <a:pt x="15539" y="14643"/>
                  </a:lnTo>
                  <a:lnTo>
                    <a:pt x="15527" y="14730"/>
                  </a:lnTo>
                  <a:lnTo>
                    <a:pt x="15519" y="14730"/>
                  </a:lnTo>
                  <a:lnTo>
                    <a:pt x="15519" y="13915"/>
                  </a:lnTo>
                  <a:lnTo>
                    <a:pt x="15511" y="13915"/>
                  </a:lnTo>
                  <a:lnTo>
                    <a:pt x="15511" y="13420"/>
                  </a:lnTo>
                  <a:lnTo>
                    <a:pt x="15491" y="13420"/>
                  </a:lnTo>
                  <a:lnTo>
                    <a:pt x="15443" y="11906"/>
                  </a:lnTo>
                  <a:lnTo>
                    <a:pt x="15412" y="10392"/>
                  </a:lnTo>
                  <a:lnTo>
                    <a:pt x="15392" y="11906"/>
                  </a:lnTo>
                  <a:lnTo>
                    <a:pt x="15345" y="13333"/>
                  </a:lnTo>
                  <a:lnTo>
                    <a:pt x="15336" y="13333"/>
                  </a:lnTo>
                  <a:lnTo>
                    <a:pt x="15336" y="14322"/>
                  </a:lnTo>
                  <a:lnTo>
                    <a:pt x="15325" y="14322"/>
                  </a:lnTo>
                  <a:lnTo>
                    <a:pt x="15325" y="14817"/>
                  </a:lnTo>
                  <a:lnTo>
                    <a:pt x="15308" y="14817"/>
                  </a:lnTo>
                  <a:lnTo>
                    <a:pt x="15308" y="13711"/>
                  </a:lnTo>
                  <a:lnTo>
                    <a:pt x="15173" y="13711"/>
                  </a:lnTo>
                  <a:lnTo>
                    <a:pt x="15173" y="16855"/>
                  </a:lnTo>
                  <a:lnTo>
                    <a:pt x="15106" y="16855"/>
                  </a:lnTo>
                  <a:lnTo>
                    <a:pt x="15106" y="13012"/>
                  </a:lnTo>
                  <a:lnTo>
                    <a:pt x="14709" y="12925"/>
                  </a:lnTo>
                  <a:lnTo>
                    <a:pt x="14709" y="15953"/>
                  </a:lnTo>
                  <a:lnTo>
                    <a:pt x="14692" y="15953"/>
                  </a:lnTo>
                  <a:lnTo>
                    <a:pt x="14692" y="15632"/>
                  </a:lnTo>
                  <a:lnTo>
                    <a:pt x="14653" y="15632"/>
                  </a:lnTo>
                  <a:lnTo>
                    <a:pt x="14653" y="15137"/>
                  </a:lnTo>
                  <a:lnTo>
                    <a:pt x="14645" y="15137"/>
                  </a:lnTo>
                  <a:lnTo>
                    <a:pt x="14645" y="14031"/>
                  </a:lnTo>
                  <a:lnTo>
                    <a:pt x="14316" y="14031"/>
                  </a:lnTo>
                  <a:lnTo>
                    <a:pt x="14316" y="15836"/>
                  </a:lnTo>
                  <a:lnTo>
                    <a:pt x="14288" y="15836"/>
                  </a:lnTo>
                  <a:lnTo>
                    <a:pt x="14172" y="16447"/>
                  </a:lnTo>
                  <a:lnTo>
                    <a:pt x="14172" y="15953"/>
                  </a:lnTo>
                  <a:lnTo>
                    <a:pt x="14026" y="15953"/>
                  </a:lnTo>
                  <a:lnTo>
                    <a:pt x="14026" y="12314"/>
                  </a:lnTo>
                  <a:lnTo>
                    <a:pt x="13711" y="12401"/>
                  </a:lnTo>
                  <a:lnTo>
                    <a:pt x="13711" y="12721"/>
                  </a:lnTo>
                  <a:lnTo>
                    <a:pt x="13700" y="12721"/>
                  </a:lnTo>
                  <a:lnTo>
                    <a:pt x="13700" y="13216"/>
                  </a:lnTo>
                  <a:lnTo>
                    <a:pt x="13692" y="13216"/>
                  </a:lnTo>
                  <a:lnTo>
                    <a:pt x="13692" y="14322"/>
                  </a:lnTo>
                  <a:lnTo>
                    <a:pt x="13624" y="14322"/>
                  </a:lnTo>
                  <a:lnTo>
                    <a:pt x="13624" y="16739"/>
                  </a:lnTo>
                  <a:lnTo>
                    <a:pt x="13461" y="16739"/>
                  </a:lnTo>
                  <a:lnTo>
                    <a:pt x="13461" y="17641"/>
                  </a:lnTo>
                  <a:lnTo>
                    <a:pt x="13441" y="17641"/>
                  </a:lnTo>
                  <a:lnTo>
                    <a:pt x="13441" y="15021"/>
                  </a:lnTo>
                  <a:lnTo>
                    <a:pt x="13430" y="15021"/>
                  </a:lnTo>
                  <a:lnTo>
                    <a:pt x="13430" y="14439"/>
                  </a:lnTo>
                  <a:lnTo>
                    <a:pt x="13410" y="14439"/>
                  </a:lnTo>
                  <a:lnTo>
                    <a:pt x="13410" y="13711"/>
                  </a:lnTo>
                  <a:lnTo>
                    <a:pt x="13374" y="13333"/>
                  </a:lnTo>
                  <a:lnTo>
                    <a:pt x="13374" y="8995"/>
                  </a:lnTo>
                  <a:lnTo>
                    <a:pt x="13143" y="8267"/>
                  </a:lnTo>
                  <a:lnTo>
                    <a:pt x="12814" y="9082"/>
                  </a:lnTo>
                  <a:lnTo>
                    <a:pt x="12814" y="15429"/>
                  </a:lnTo>
                  <a:lnTo>
                    <a:pt x="12795" y="15429"/>
                  </a:lnTo>
                  <a:lnTo>
                    <a:pt x="12795" y="18165"/>
                  </a:lnTo>
                  <a:lnTo>
                    <a:pt x="12778" y="18165"/>
                  </a:lnTo>
                  <a:lnTo>
                    <a:pt x="12778" y="15953"/>
                  </a:lnTo>
                  <a:lnTo>
                    <a:pt x="12767" y="15836"/>
                  </a:lnTo>
                  <a:lnTo>
                    <a:pt x="12767" y="14235"/>
                  </a:lnTo>
                  <a:lnTo>
                    <a:pt x="12758" y="13624"/>
                  </a:lnTo>
                  <a:lnTo>
                    <a:pt x="12747" y="13915"/>
                  </a:lnTo>
                  <a:lnTo>
                    <a:pt x="12699" y="12605"/>
                  </a:lnTo>
                  <a:lnTo>
                    <a:pt x="12660" y="13915"/>
                  </a:lnTo>
                  <a:lnTo>
                    <a:pt x="12651" y="13711"/>
                  </a:lnTo>
                  <a:lnTo>
                    <a:pt x="12651" y="4949"/>
                  </a:lnTo>
                  <a:lnTo>
                    <a:pt x="12410" y="4337"/>
                  </a:lnTo>
                  <a:lnTo>
                    <a:pt x="12112" y="5153"/>
                  </a:lnTo>
                  <a:lnTo>
                    <a:pt x="12112" y="16244"/>
                  </a:lnTo>
                  <a:lnTo>
                    <a:pt x="12075" y="16244"/>
                  </a:lnTo>
                  <a:lnTo>
                    <a:pt x="12075" y="14119"/>
                  </a:lnTo>
                  <a:lnTo>
                    <a:pt x="12044" y="14119"/>
                  </a:lnTo>
                  <a:lnTo>
                    <a:pt x="12044" y="13333"/>
                  </a:lnTo>
                  <a:lnTo>
                    <a:pt x="12016" y="13333"/>
                  </a:lnTo>
                  <a:lnTo>
                    <a:pt x="12016" y="12809"/>
                  </a:lnTo>
                  <a:lnTo>
                    <a:pt x="11603" y="12809"/>
                  </a:lnTo>
                  <a:lnTo>
                    <a:pt x="11603" y="13420"/>
                  </a:lnTo>
                  <a:lnTo>
                    <a:pt x="11583" y="13420"/>
                  </a:lnTo>
                  <a:lnTo>
                    <a:pt x="11583" y="14119"/>
                  </a:lnTo>
                  <a:lnTo>
                    <a:pt x="11535" y="14119"/>
                  </a:lnTo>
                  <a:lnTo>
                    <a:pt x="11535" y="16447"/>
                  </a:lnTo>
                  <a:lnTo>
                    <a:pt x="11507" y="15545"/>
                  </a:lnTo>
                  <a:lnTo>
                    <a:pt x="11468" y="15545"/>
                  </a:lnTo>
                  <a:lnTo>
                    <a:pt x="11468" y="13012"/>
                  </a:lnTo>
                  <a:lnTo>
                    <a:pt x="11440" y="12809"/>
                  </a:lnTo>
                  <a:lnTo>
                    <a:pt x="11440" y="11615"/>
                  </a:lnTo>
                  <a:lnTo>
                    <a:pt x="11411" y="11615"/>
                  </a:lnTo>
                  <a:lnTo>
                    <a:pt x="11411" y="11295"/>
                  </a:lnTo>
                  <a:lnTo>
                    <a:pt x="11217" y="10305"/>
                  </a:lnTo>
                  <a:lnTo>
                    <a:pt x="11015" y="11295"/>
                  </a:lnTo>
                  <a:lnTo>
                    <a:pt x="11015" y="11615"/>
                  </a:lnTo>
                  <a:lnTo>
                    <a:pt x="10979" y="11615"/>
                  </a:lnTo>
                  <a:lnTo>
                    <a:pt x="10979" y="12809"/>
                  </a:lnTo>
                  <a:lnTo>
                    <a:pt x="10928" y="12809"/>
                  </a:lnTo>
                  <a:lnTo>
                    <a:pt x="10928" y="16651"/>
                  </a:lnTo>
                  <a:lnTo>
                    <a:pt x="10911" y="16651"/>
                  </a:lnTo>
                  <a:lnTo>
                    <a:pt x="10911" y="16156"/>
                  </a:lnTo>
                  <a:lnTo>
                    <a:pt x="10880" y="16156"/>
                  </a:lnTo>
                  <a:lnTo>
                    <a:pt x="10880" y="15137"/>
                  </a:lnTo>
                  <a:lnTo>
                    <a:pt x="10860" y="15137"/>
                  </a:lnTo>
                  <a:lnTo>
                    <a:pt x="10860" y="14817"/>
                  </a:lnTo>
                  <a:lnTo>
                    <a:pt x="10844" y="14817"/>
                  </a:lnTo>
                  <a:lnTo>
                    <a:pt x="10844" y="14526"/>
                  </a:lnTo>
                  <a:lnTo>
                    <a:pt x="10832" y="14526"/>
                  </a:lnTo>
                  <a:lnTo>
                    <a:pt x="10832" y="10509"/>
                  </a:lnTo>
                  <a:lnTo>
                    <a:pt x="10804" y="10392"/>
                  </a:lnTo>
                  <a:lnTo>
                    <a:pt x="10630" y="10392"/>
                  </a:lnTo>
                  <a:lnTo>
                    <a:pt x="10630" y="16855"/>
                  </a:lnTo>
                  <a:lnTo>
                    <a:pt x="10526" y="16855"/>
                  </a:lnTo>
                  <a:lnTo>
                    <a:pt x="10526" y="19358"/>
                  </a:lnTo>
                  <a:lnTo>
                    <a:pt x="10487" y="19358"/>
                  </a:lnTo>
                  <a:lnTo>
                    <a:pt x="10487" y="6666"/>
                  </a:lnTo>
                  <a:lnTo>
                    <a:pt x="10478" y="6666"/>
                  </a:lnTo>
                  <a:lnTo>
                    <a:pt x="10467" y="6579"/>
                  </a:lnTo>
                  <a:lnTo>
                    <a:pt x="10113" y="6579"/>
                  </a:lnTo>
                  <a:lnTo>
                    <a:pt x="10113" y="6666"/>
                  </a:lnTo>
                  <a:lnTo>
                    <a:pt x="10101" y="6666"/>
                  </a:lnTo>
                  <a:lnTo>
                    <a:pt x="10093" y="16535"/>
                  </a:lnTo>
                  <a:lnTo>
                    <a:pt x="9995" y="16447"/>
                  </a:lnTo>
                  <a:lnTo>
                    <a:pt x="9995" y="16331"/>
                  </a:lnTo>
                  <a:lnTo>
                    <a:pt x="9919" y="16331"/>
                  </a:lnTo>
                  <a:lnTo>
                    <a:pt x="9910" y="11906"/>
                  </a:lnTo>
                  <a:lnTo>
                    <a:pt x="9910" y="11411"/>
                  </a:lnTo>
                  <a:lnTo>
                    <a:pt x="9862" y="11411"/>
                  </a:lnTo>
                  <a:lnTo>
                    <a:pt x="9862" y="6754"/>
                  </a:lnTo>
                  <a:lnTo>
                    <a:pt x="9629" y="6754"/>
                  </a:lnTo>
                  <a:lnTo>
                    <a:pt x="9629" y="11295"/>
                  </a:lnTo>
                  <a:lnTo>
                    <a:pt x="9525" y="11295"/>
                  </a:lnTo>
                  <a:lnTo>
                    <a:pt x="9525" y="8675"/>
                  </a:lnTo>
                  <a:lnTo>
                    <a:pt x="9168" y="8675"/>
                  </a:lnTo>
                  <a:lnTo>
                    <a:pt x="9168" y="1630"/>
                  </a:lnTo>
                  <a:lnTo>
                    <a:pt x="9129" y="1019"/>
                  </a:lnTo>
                  <a:lnTo>
                    <a:pt x="9120" y="932"/>
                  </a:lnTo>
                  <a:lnTo>
                    <a:pt x="8898" y="1019"/>
                  </a:lnTo>
                  <a:lnTo>
                    <a:pt x="8878" y="1135"/>
                  </a:lnTo>
                  <a:lnTo>
                    <a:pt x="8870" y="1223"/>
                  </a:lnTo>
                  <a:lnTo>
                    <a:pt x="8870" y="1834"/>
                  </a:lnTo>
                  <a:lnTo>
                    <a:pt x="8862" y="1921"/>
                  </a:lnTo>
                  <a:lnTo>
                    <a:pt x="8862" y="2125"/>
                  </a:lnTo>
                  <a:lnTo>
                    <a:pt x="8850" y="14322"/>
                  </a:lnTo>
                  <a:lnTo>
                    <a:pt x="8811" y="13333"/>
                  </a:lnTo>
                  <a:lnTo>
                    <a:pt x="8811" y="11091"/>
                  </a:lnTo>
                  <a:lnTo>
                    <a:pt x="8802" y="9781"/>
                  </a:lnTo>
                  <a:lnTo>
                    <a:pt x="8802" y="6754"/>
                  </a:lnTo>
                  <a:lnTo>
                    <a:pt x="8794" y="6754"/>
                  </a:lnTo>
                  <a:lnTo>
                    <a:pt x="8783" y="6666"/>
                  </a:lnTo>
                  <a:lnTo>
                    <a:pt x="8774" y="6579"/>
                  </a:lnTo>
                  <a:lnTo>
                    <a:pt x="8774" y="6463"/>
                  </a:lnTo>
                  <a:lnTo>
                    <a:pt x="8763" y="6375"/>
                  </a:lnTo>
                  <a:lnTo>
                    <a:pt x="8755" y="6375"/>
                  </a:lnTo>
                  <a:lnTo>
                    <a:pt x="8755" y="6259"/>
                  </a:lnTo>
                  <a:lnTo>
                    <a:pt x="8746" y="6259"/>
                  </a:lnTo>
                  <a:lnTo>
                    <a:pt x="8746" y="6055"/>
                  </a:lnTo>
                  <a:lnTo>
                    <a:pt x="8668" y="6055"/>
                  </a:lnTo>
                  <a:lnTo>
                    <a:pt x="8668" y="6259"/>
                  </a:lnTo>
                  <a:lnTo>
                    <a:pt x="8648" y="6259"/>
                  </a:lnTo>
                  <a:lnTo>
                    <a:pt x="8648" y="6375"/>
                  </a:lnTo>
                  <a:lnTo>
                    <a:pt x="8639" y="6463"/>
                  </a:lnTo>
                  <a:lnTo>
                    <a:pt x="8639" y="6579"/>
                  </a:lnTo>
                  <a:lnTo>
                    <a:pt x="8620" y="6666"/>
                  </a:lnTo>
                  <a:lnTo>
                    <a:pt x="8620" y="6754"/>
                  </a:lnTo>
                  <a:lnTo>
                    <a:pt x="8611" y="6754"/>
                  </a:lnTo>
                  <a:lnTo>
                    <a:pt x="8611" y="9781"/>
                  </a:lnTo>
                  <a:lnTo>
                    <a:pt x="8600" y="11091"/>
                  </a:lnTo>
                  <a:lnTo>
                    <a:pt x="8600" y="14119"/>
                  </a:lnTo>
                  <a:lnTo>
                    <a:pt x="8580" y="14730"/>
                  </a:lnTo>
                  <a:lnTo>
                    <a:pt x="8544" y="14730"/>
                  </a:lnTo>
                  <a:lnTo>
                    <a:pt x="8544" y="14817"/>
                  </a:lnTo>
                  <a:lnTo>
                    <a:pt x="8524" y="14817"/>
                  </a:lnTo>
                  <a:lnTo>
                    <a:pt x="8524" y="4250"/>
                  </a:lnTo>
                  <a:lnTo>
                    <a:pt x="8398" y="3843"/>
                  </a:lnTo>
                  <a:lnTo>
                    <a:pt x="8389" y="4454"/>
                  </a:lnTo>
                  <a:lnTo>
                    <a:pt x="8389" y="11295"/>
                  </a:lnTo>
                  <a:lnTo>
                    <a:pt x="8322" y="11411"/>
                  </a:lnTo>
                  <a:lnTo>
                    <a:pt x="8322" y="10713"/>
                  </a:lnTo>
                  <a:lnTo>
                    <a:pt x="8330" y="10713"/>
                  </a:lnTo>
                  <a:lnTo>
                    <a:pt x="8330" y="10596"/>
                  </a:lnTo>
                  <a:lnTo>
                    <a:pt x="8341" y="10596"/>
                  </a:lnTo>
                  <a:lnTo>
                    <a:pt x="8330" y="7569"/>
                  </a:lnTo>
                  <a:lnTo>
                    <a:pt x="8322" y="7569"/>
                  </a:lnTo>
                  <a:lnTo>
                    <a:pt x="8215" y="5153"/>
                  </a:lnTo>
                  <a:lnTo>
                    <a:pt x="8111" y="5153"/>
                  </a:lnTo>
                  <a:lnTo>
                    <a:pt x="8012" y="7569"/>
                  </a:lnTo>
                  <a:lnTo>
                    <a:pt x="7996" y="7569"/>
                  </a:lnTo>
                  <a:lnTo>
                    <a:pt x="7996" y="10713"/>
                  </a:lnTo>
                  <a:lnTo>
                    <a:pt x="8004" y="10713"/>
                  </a:lnTo>
                  <a:lnTo>
                    <a:pt x="8004" y="16739"/>
                  </a:lnTo>
                  <a:lnTo>
                    <a:pt x="7984" y="16739"/>
                  </a:lnTo>
                  <a:lnTo>
                    <a:pt x="7984" y="19358"/>
                  </a:lnTo>
                  <a:lnTo>
                    <a:pt x="7965" y="19358"/>
                  </a:lnTo>
                  <a:lnTo>
                    <a:pt x="7965" y="18573"/>
                  </a:lnTo>
                  <a:lnTo>
                    <a:pt x="7956" y="18573"/>
                  </a:lnTo>
                  <a:lnTo>
                    <a:pt x="7956" y="14322"/>
                  </a:lnTo>
                  <a:lnTo>
                    <a:pt x="7965" y="14322"/>
                  </a:lnTo>
                  <a:lnTo>
                    <a:pt x="7965" y="9199"/>
                  </a:lnTo>
                  <a:lnTo>
                    <a:pt x="7945" y="9082"/>
                  </a:lnTo>
                  <a:lnTo>
                    <a:pt x="7945" y="7365"/>
                  </a:lnTo>
                  <a:lnTo>
                    <a:pt x="7928" y="7365"/>
                  </a:lnTo>
                  <a:lnTo>
                    <a:pt x="7917" y="7278"/>
                  </a:lnTo>
                  <a:lnTo>
                    <a:pt x="7889" y="7278"/>
                  </a:lnTo>
                  <a:lnTo>
                    <a:pt x="7861" y="7161"/>
                  </a:lnTo>
                  <a:lnTo>
                    <a:pt x="7841" y="7278"/>
                  </a:lnTo>
                  <a:lnTo>
                    <a:pt x="7802" y="7278"/>
                  </a:lnTo>
                  <a:lnTo>
                    <a:pt x="7802" y="7365"/>
                  </a:lnTo>
                  <a:lnTo>
                    <a:pt x="7782" y="7365"/>
                  </a:lnTo>
                  <a:lnTo>
                    <a:pt x="7782" y="9082"/>
                  </a:lnTo>
                  <a:lnTo>
                    <a:pt x="7762" y="9199"/>
                  </a:lnTo>
                  <a:lnTo>
                    <a:pt x="7762" y="14322"/>
                  </a:lnTo>
                  <a:lnTo>
                    <a:pt x="7774" y="14322"/>
                  </a:lnTo>
                  <a:lnTo>
                    <a:pt x="7774" y="18573"/>
                  </a:lnTo>
                  <a:lnTo>
                    <a:pt x="7734" y="18573"/>
                  </a:lnTo>
                  <a:lnTo>
                    <a:pt x="7734" y="15137"/>
                  </a:lnTo>
                  <a:lnTo>
                    <a:pt x="7639" y="15021"/>
                  </a:lnTo>
                  <a:lnTo>
                    <a:pt x="7630" y="15021"/>
                  </a:lnTo>
                  <a:lnTo>
                    <a:pt x="7630" y="15225"/>
                  </a:lnTo>
                  <a:lnTo>
                    <a:pt x="7580" y="15225"/>
                  </a:lnTo>
                  <a:lnTo>
                    <a:pt x="7580" y="14439"/>
                  </a:lnTo>
                  <a:lnTo>
                    <a:pt x="7571" y="14439"/>
                  </a:lnTo>
                  <a:lnTo>
                    <a:pt x="7571" y="13420"/>
                  </a:lnTo>
                  <a:lnTo>
                    <a:pt x="7495" y="13420"/>
                  </a:lnTo>
                  <a:lnTo>
                    <a:pt x="7495" y="12925"/>
                  </a:lnTo>
                  <a:lnTo>
                    <a:pt x="7436" y="12925"/>
                  </a:lnTo>
                  <a:lnTo>
                    <a:pt x="7436" y="13827"/>
                  </a:lnTo>
                  <a:lnTo>
                    <a:pt x="7428" y="13827"/>
                  </a:lnTo>
                  <a:lnTo>
                    <a:pt x="7428" y="14730"/>
                  </a:lnTo>
                  <a:lnTo>
                    <a:pt x="7416" y="14730"/>
                  </a:lnTo>
                  <a:lnTo>
                    <a:pt x="7416" y="15137"/>
                  </a:lnTo>
                  <a:lnTo>
                    <a:pt x="7397" y="15137"/>
                  </a:lnTo>
                  <a:lnTo>
                    <a:pt x="7397" y="14730"/>
                  </a:lnTo>
                  <a:lnTo>
                    <a:pt x="7380" y="14730"/>
                  </a:lnTo>
                  <a:lnTo>
                    <a:pt x="7380" y="14439"/>
                  </a:lnTo>
                  <a:lnTo>
                    <a:pt x="7360" y="14439"/>
                  </a:lnTo>
                  <a:lnTo>
                    <a:pt x="7360" y="12809"/>
                  </a:lnTo>
                  <a:lnTo>
                    <a:pt x="7262" y="12809"/>
                  </a:lnTo>
                  <a:lnTo>
                    <a:pt x="7262" y="14730"/>
                  </a:lnTo>
                  <a:lnTo>
                    <a:pt x="7253" y="14730"/>
                  </a:lnTo>
                  <a:lnTo>
                    <a:pt x="7253" y="17350"/>
                  </a:lnTo>
                  <a:lnTo>
                    <a:pt x="7206" y="17350"/>
                  </a:lnTo>
                  <a:lnTo>
                    <a:pt x="7206" y="14817"/>
                  </a:lnTo>
                  <a:lnTo>
                    <a:pt x="7186" y="13507"/>
                  </a:lnTo>
                  <a:lnTo>
                    <a:pt x="7186" y="9082"/>
                  </a:lnTo>
                  <a:lnTo>
                    <a:pt x="7166" y="8675"/>
                  </a:lnTo>
                  <a:lnTo>
                    <a:pt x="7166" y="4658"/>
                  </a:lnTo>
                  <a:lnTo>
                    <a:pt x="7158" y="4337"/>
                  </a:lnTo>
                  <a:lnTo>
                    <a:pt x="7147" y="4337"/>
                  </a:lnTo>
                  <a:lnTo>
                    <a:pt x="7147" y="4134"/>
                  </a:lnTo>
                  <a:lnTo>
                    <a:pt x="7138" y="4134"/>
                  </a:lnTo>
                  <a:lnTo>
                    <a:pt x="7138" y="3930"/>
                  </a:lnTo>
                  <a:lnTo>
                    <a:pt x="7130" y="3930"/>
                  </a:lnTo>
                  <a:lnTo>
                    <a:pt x="7130" y="3551"/>
                  </a:lnTo>
                  <a:lnTo>
                    <a:pt x="7023" y="3551"/>
                  </a:lnTo>
                  <a:lnTo>
                    <a:pt x="7023" y="3930"/>
                  </a:lnTo>
                  <a:lnTo>
                    <a:pt x="7003" y="3930"/>
                  </a:lnTo>
                  <a:lnTo>
                    <a:pt x="7003" y="4337"/>
                  </a:lnTo>
                  <a:lnTo>
                    <a:pt x="6995" y="4337"/>
                  </a:lnTo>
                  <a:lnTo>
                    <a:pt x="6984" y="4658"/>
                  </a:lnTo>
                  <a:lnTo>
                    <a:pt x="6984" y="8675"/>
                  </a:lnTo>
                  <a:lnTo>
                    <a:pt x="6964" y="9082"/>
                  </a:lnTo>
                  <a:lnTo>
                    <a:pt x="6964" y="12809"/>
                  </a:lnTo>
                  <a:lnTo>
                    <a:pt x="6936" y="12809"/>
                  </a:lnTo>
                  <a:lnTo>
                    <a:pt x="6936" y="12925"/>
                  </a:lnTo>
                  <a:lnTo>
                    <a:pt x="6927" y="12925"/>
                  </a:lnTo>
                  <a:lnTo>
                    <a:pt x="6927" y="13012"/>
                  </a:lnTo>
                  <a:lnTo>
                    <a:pt x="6916" y="13012"/>
                  </a:lnTo>
                  <a:lnTo>
                    <a:pt x="6916" y="15225"/>
                  </a:lnTo>
                  <a:lnTo>
                    <a:pt x="6908" y="15545"/>
                  </a:lnTo>
                  <a:lnTo>
                    <a:pt x="6908" y="7365"/>
                  </a:lnTo>
                  <a:lnTo>
                    <a:pt x="6820" y="7365"/>
                  </a:lnTo>
                  <a:lnTo>
                    <a:pt x="6820" y="7278"/>
                  </a:lnTo>
                  <a:lnTo>
                    <a:pt x="6801" y="7278"/>
                  </a:lnTo>
                  <a:lnTo>
                    <a:pt x="6801" y="7365"/>
                  </a:lnTo>
                  <a:lnTo>
                    <a:pt x="6725" y="7365"/>
                  </a:lnTo>
                  <a:lnTo>
                    <a:pt x="6725" y="7278"/>
                  </a:lnTo>
                  <a:lnTo>
                    <a:pt x="6714" y="7278"/>
                  </a:lnTo>
                  <a:lnTo>
                    <a:pt x="6714" y="7365"/>
                  </a:lnTo>
                  <a:lnTo>
                    <a:pt x="6629" y="7278"/>
                  </a:lnTo>
                  <a:lnTo>
                    <a:pt x="6629" y="8267"/>
                  </a:lnTo>
                  <a:lnTo>
                    <a:pt x="6618" y="8267"/>
                  </a:lnTo>
                  <a:lnTo>
                    <a:pt x="6629" y="9199"/>
                  </a:lnTo>
                  <a:lnTo>
                    <a:pt x="6629" y="13827"/>
                  </a:lnTo>
                  <a:lnTo>
                    <a:pt x="6522" y="13827"/>
                  </a:lnTo>
                  <a:lnTo>
                    <a:pt x="6522" y="14119"/>
                  </a:lnTo>
                  <a:lnTo>
                    <a:pt x="6514" y="14119"/>
                  </a:lnTo>
                  <a:lnTo>
                    <a:pt x="6455" y="14235"/>
                  </a:lnTo>
                  <a:lnTo>
                    <a:pt x="6455" y="15137"/>
                  </a:lnTo>
                  <a:lnTo>
                    <a:pt x="6416" y="15021"/>
                  </a:lnTo>
                  <a:lnTo>
                    <a:pt x="6379" y="15021"/>
                  </a:lnTo>
                  <a:lnTo>
                    <a:pt x="6379" y="8879"/>
                  </a:lnTo>
                  <a:lnTo>
                    <a:pt x="6359" y="8471"/>
                  </a:lnTo>
                  <a:lnTo>
                    <a:pt x="6359" y="8180"/>
                  </a:lnTo>
                  <a:lnTo>
                    <a:pt x="6348" y="8064"/>
                  </a:lnTo>
                  <a:lnTo>
                    <a:pt x="6070" y="8180"/>
                  </a:lnTo>
                  <a:lnTo>
                    <a:pt x="6070" y="16040"/>
                  </a:lnTo>
                  <a:lnTo>
                    <a:pt x="6030" y="16040"/>
                  </a:lnTo>
                  <a:lnTo>
                    <a:pt x="6030" y="16156"/>
                  </a:lnTo>
                  <a:lnTo>
                    <a:pt x="5994" y="15953"/>
                  </a:lnTo>
                  <a:lnTo>
                    <a:pt x="5994" y="2533"/>
                  </a:lnTo>
                  <a:lnTo>
                    <a:pt x="5983" y="2445"/>
                  </a:lnTo>
                  <a:lnTo>
                    <a:pt x="5963" y="2329"/>
                  </a:lnTo>
                  <a:lnTo>
                    <a:pt x="5926" y="2242"/>
                  </a:lnTo>
                  <a:lnTo>
                    <a:pt x="5887" y="2125"/>
                  </a:lnTo>
                  <a:lnTo>
                    <a:pt x="5820" y="2125"/>
                  </a:lnTo>
                  <a:lnTo>
                    <a:pt x="5820" y="1019"/>
                  </a:lnTo>
                  <a:lnTo>
                    <a:pt x="5800" y="0"/>
                  </a:lnTo>
                  <a:lnTo>
                    <a:pt x="5752" y="116"/>
                  </a:lnTo>
                  <a:lnTo>
                    <a:pt x="5713" y="116"/>
                  </a:lnTo>
                  <a:lnTo>
                    <a:pt x="5676" y="204"/>
                  </a:lnTo>
                  <a:lnTo>
                    <a:pt x="5648" y="320"/>
                  </a:lnTo>
                  <a:lnTo>
                    <a:pt x="5628" y="408"/>
                  </a:lnTo>
                  <a:lnTo>
                    <a:pt x="5628" y="17845"/>
                  </a:lnTo>
                  <a:lnTo>
                    <a:pt x="5617" y="17961"/>
                  </a:lnTo>
                  <a:lnTo>
                    <a:pt x="5609" y="17961"/>
                  </a:lnTo>
                  <a:lnTo>
                    <a:pt x="5609" y="15137"/>
                  </a:lnTo>
                  <a:lnTo>
                    <a:pt x="5598" y="14643"/>
                  </a:lnTo>
                  <a:lnTo>
                    <a:pt x="5598" y="14235"/>
                  </a:lnTo>
                  <a:lnTo>
                    <a:pt x="5589" y="13827"/>
                  </a:lnTo>
                  <a:lnTo>
                    <a:pt x="5581" y="13624"/>
                  </a:lnTo>
                  <a:lnTo>
                    <a:pt x="5581" y="13420"/>
                  </a:lnTo>
                  <a:lnTo>
                    <a:pt x="5513" y="13420"/>
                  </a:lnTo>
                  <a:lnTo>
                    <a:pt x="5502" y="13624"/>
                  </a:lnTo>
                  <a:lnTo>
                    <a:pt x="5502" y="13827"/>
                  </a:lnTo>
                  <a:lnTo>
                    <a:pt x="5493" y="14119"/>
                  </a:lnTo>
                  <a:lnTo>
                    <a:pt x="5493" y="14526"/>
                  </a:lnTo>
                  <a:lnTo>
                    <a:pt x="5482" y="9898"/>
                  </a:lnTo>
                  <a:lnTo>
                    <a:pt x="5482" y="8471"/>
                  </a:lnTo>
                  <a:lnTo>
                    <a:pt x="5474" y="8064"/>
                  </a:lnTo>
                  <a:lnTo>
                    <a:pt x="5474" y="7773"/>
                  </a:lnTo>
                  <a:lnTo>
                    <a:pt x="5463" y="7365"/>
                  </a:lnTo>
                  <a:lnTo>
                    <a:pt x="5454" y="6957"/>
                  </a:lnTo>
                  <a:lnTo>
                    <a:pt x="5454" y="6666"/>
                  </a:lnTo>
                  <a:lnTo>
                    <a:pt x="5446" y="6259"/>
                  </a:lnTo>
                  <a:lnTo>
                    <a:pt x="5434" y="5968"/>
                  </a:lnTo>
                  <a:lnTo>
                    <a:pt x="5426" y="5647"/>
                  </a:lnTo>
                  <a:lnTo>
                    <a:pt x="5426" y="5560"/>
                  </a:lnTo>
                  <a:lnTo>
                    <a:pt x="5434" y="5560"/>
                  </a:lnTo>
                  <a:lnTo>
                    <a:pt x="5434" y="5444"/>
                  </a:lnTo>
                  <a:lnTo>
                    <a:pt x="5426" y="5444"/>
                  </a:lnTo>
                  <a:lnTo>
                    <a:pt x="5426" y="5065"/>
                  </a:lnTo>
                  <a:lnTo>
                    <a:pt x="5415" y="4949"/>
                  </a:lnTo>
                  <a:lnTo>
                    <a:pt x="5415" y="4454"/>
                  </a:lnTo>
                  <a:lnTo>
                    <a:pt x="5406" y="4337"/>
                  </a:lnTo>
                  <a:lnTo>
                    <a:pt x="5212" y="4337"/>
                  </a:lnTo>
                  <a:lnTo>
                    <a:pt x="5204" y="4454"/>
                  </a:lnTo>
                  <a:lnTo>
                    <a:pt x="5204" y="5065"/>
                  </a:lnTo>
                  <a:lnTo>
                    <a:pt x="5195" y="5065"/>
                  </a:lnTo>
                  <a:lnTo>
                    <a:pt x="5195" y="5764"/>
                  </a:lnTo>
                  <a:lnTo>
                    <a:pt x="5184" y="5968"/>
                  </a:lnTo>
                  <a:lnTo>
                    <a:pt x="5184" y="6055"/>
                  </a:lnTo>
                  <a:lnTo>
                    <a:pt x="5176" y="6259"/>
                  </a:lnTo>
                  <a:lnTo>
                    <a:pt x="5176" y="6463"/>
                  </a:lnTo>
                  <a:lnTo>
                    <a:pt x="5165" y="6666"/>
                  </a:lnTo>
                  <a:lnTo>
                    <a:pt x="5165" y="6957"/>
                  </a:lnTo>
                  <a:lnTo>
                    <a:pt x="5156" y="7161"/>
                  </a:lnTo>
                  <a:lnTo>
                    <a:pt x="5156" y="7569"/>
                  </a:lnTo>
                  <a:lnTo>
                    <a:pt x="5148" y="7685"/>
                  </a:lnTo>
                  <a:lnTo>
                    <a:pt x="5148" y="8471"/>
                  </a:lnTo>
                  <a:lnTo>
                    <a:pt x="5136" y="8791"/>
                  </a:lnTo>
                  <a:lnTo>
                    <a:pt x="5136" y="9898"/>
                  </a:lnTo>
                  <a:lnTo>
                    <a:pt x="5128" y="14235"/>
                  </a:lnTo>
                  <a:lnTo>
                    <a:pt x="5069" y="14235"/>
                  </a:lnTo>
                  <a:lnTo>
                    <a:pt x="5080" y="2620"/>
                  </a:lnTo>
                  <a:lnTo>
                    <a:pt x="5080" y="1223"/>
                  </a:lnTo>
                  <a:lnTo>
                    <a:pt x="4664" y="1135"/>
                  </a:lnTo>
                  <a:lnTo>
                    <a:pt x="4656" y="1310"/>
                  </a:lnTo>
                  <a:lnTo>
                    <a:pt x="4664" y="2736"/>
                  </a:lnTo>
                  <a:lnTo>
                    <a:pt x="4664" y="14119"/>
                  </a:lnTo>
                  <a:lnTo>
                    <a:pt x="4656" y="14119"/>
                  </a:lnTo>
                  <a:lnTo>
                    <a:pt x="4656" y="13507"/>
                  </a:lnTo>
                  <a:lnTo>
                    <a:pt x="4628" y="13507"/>
                  </a:lnTo>
                  <a:lnTo>
                    <a:pt x="4628" y="12925"/>
                  </a:lnTo>
                  <a:lnTo>
                    <a:pt x="4597" y="12925"/>
                  </a:lnTo>
                  <a:lnTo>
                    <a:pt x="4597" y="12401"/>
                  </a:lnTo>
                  <a:lnTo>
                    <a:pt x="4512" y="12314"/>
                  </a:lnTo>
                  <a:lnTo>
                    <a:pt x="4512" y="11702"/>
                  </a:lnTo>
                  <a:lnTo>
                    <a:pt x="4445" y="11702"/>
                  </a:lnTo>
                  <a:lnTo>
                    <a:pt x="4445" y="12314"/>
                  </a:lnTo>
                  <a:lnTo>
                    <a:pt x="4445" y="10800"/>
                  </a:lnTo>
                  <a:lnTo>
                    <a:pt x="4425" y="8267"/>
                  </a:lnTo>
                  <a:lnTo>
                    <a:pt x="4425" y="7773"/>
                  </a:lnTo>
                  <a:lnTo>
                    <a:pt x="4414" y="7569"/>
                  </a:lnTo>
                  <a:lnTo>
                    <a:pt x="4310" y="7889"/>
                  </a:lnTo>
                  <a:lnTo>
                    <a:pt x="4310" y="8064"/>
                  </a:lnTo>
                  <a:lnTo>
                    <a:pt x="4290" y="8064"/>
                  </a:lnTo>
                  <a:lnTo>
                    <a:pt x="4290" y="7889"/>
                  </a:lnTo>
                  <a:lnTo>
                    <a:pt x="4231" y="7685"/>
                  </a:lnTo>
                  <a:lnTo>
                    <a:pt x="4223" y="8267"/>
                  </a:lnTo>
                  <a:lnTo>
                    <a:pt x="4214" y="10887"/>
                  </a:lnTo>
                  <a:lnTo>
                    <a:pt x="4214" y="13711"/>
                  </a:lnTo>
                  <a:lnTo>
                    <a:pt x="4223" y="15749"/>
                  </a:lnTo>
                  <a:lnTo>
                    <a:pt x="4214" y="15749"/>
                  </a:lnTo>
                  <a:lnTo>
                    <a:pt x="4214" y="15021"/>
                  </a:lnTo>
                  <a:lnTo>
                    <a:pt x="4195" y="15021"/>
                  </a:lnTo>
                  <a:lnTo>
                    <a:pt x="4195" y="14730"/>
                  </a:lnTo>
                  <a:lnTo>
                    <a:pt x="4175" y="14730"/>
                  </a:lnTo>
                  <a:lnTo>
                    <a:pt x="4175" y="14119"/>
                  </a:lnTo>
                  <a:lnTo>
                    <a:pt x="4147" y="14119"/>
                  </a:lnTo>
                  <a:lnTo>
                    <a:pt x="4147" y="14235"/>
                  </a:lnTo>
                  <a:lnTo>
                    <a:pt x="4096" y="14235"/>
                  </a:lnTo>
                  <a:lnTo>
                    <a:pt x="4096" y="14119"/>
                  </a:lnTo>
                  <a:lnTo>
                    <a:pt x="4048" y="14119"/>
                  </a:lnTo>
                  <a:lnTo>
                    <a:pt x="4048" y="13711"/>
                  </a:lnTo>
                  <a:lnTo>
                    <a:pt x="4040" y="13507"/>
                  </a:lnTo>
                  <a:lnTo>
                    <a:pt x="3944" y="13507"/>
                  </a:lnTo>
                  <a:lnTo>
                    <a:pt x="3944" y="14119"/>
                  </a:lnTo>
                  <a:lnTo>
                    <a:pt x="3885" y="14119"/>
                  </a:lnTo>
                  <a:lnTo>
                    <a:pt x="3885" y="14235"/>
                  </a:lnTo>
                  <a:lnTo>
                    <a:pt x="3849" y="14235"/>
                  </a:lnTo>
                  <a:lnTo>
                    <a:pt x="3849" y="14119"/>
                  </a:lnTo>
                  <a:lnTo>
                    <a:pt x="3838" y="14119"/>
                  </a:lnTo>
                  <a:lnTo>
                    <a:pt x="3829" y="14031"/>
                  </a:lnTo>
                  <a:lnTo>
                    <a:pt x="3818" y="14031"/>
                  </a:lnTo>
                  <a:lnTo>
                    <a:pt x="3818" y="14119"/>
                  </a:lnTo>
                  <a:lnTo>
                    <a:pt x="3809" y="14119"/>
                  </a:lnTo>
                  <a:lnTo>
                    <a:pt x="3809" y="14730"/>
                  </a:lnTo>
                  <a:lnTo>
                    <a:pt x="3790" y="14730"/>
                  </a:lnTo>
                  <a:lnTo>
                    <a:pt x="3790" y="15021"/>
                  </a:lnTo>
                  <a:lnTo>
                    <a:pt x="3770" y="15021"/>
                  </a:lnTo>
                  <a:lnTo>
                    <a:pt x="3770" y="15749"/>
                  </a:lnTo>
                  <a:lnTo>
                    <a:pt x="3762" y="15749"/>
                  </a:lnTo>
                  <a:lnTo>
                    <a:pt x="3762" y="8064"/>
                  </a:lnTo>
                  <a:lnTo>
                    <a:pt x="3742" y="7976"/>
                  </a:lnTo>
                  <a:lnTo>
                    <a:pt x="3742" y="6579"/>
                  </a:lnTo>
                  <a:lnTo>
                    <a:pt x="3663" y="6259"/>
                  </a:lnTo>
                  <a:lnTo>
                    <a:pt x="3615" y="6259"/>
                  </a:lnTo>
                  <a:lnTo>
                    <a:pt x="3531" y="6463"/>
                  </a:lnTo>
                  <a:lnTo>
                    <a:pt x="3531" y="7889"/>
                  </a:lnTo>
                  <a:lnTo>
                    <a:pt x="3500" y="7976"/>
                  </a:lnTo>
                  <a:lnTo>
                    <a:pt x="3500" y="10800"/>
                  </a:lnTo>
                  <a:lnTo>
                    <a:pt x="3385" y="10800"/>
                  </a:lnTo>
                  <a:lnTo>
                    <a:pt x="3385" y="1630"/>
                  </a:lnTo>
                  <a:lnTo>
                    <a:pt x="3126" y="1630"/>
                  </a:lnTo>
                  <a:lnTo>
                    <a:pt x="3126" y="10800"/>
                  </a:lnTo>
                  <a:lnTo>
                    <a:pt x="3011" y="10800"/>
                  </a:lnTo>
                  <a:lnTo>
                    <a:pt x="3011" y="10713"/>
                  </a:lnTo>
                  <a:lnTo>
                    <a:pt x="3019" y="10392"/>
                  </a:lnTo>
                  <a:lnTo>
                    <a:pt x="3011" y="10392"/>
                  </a:lnTo>
                  <a:lnTo>
                    <a:pt x="3011" y="8267"/>
                  </a:lnTo>
                  <a:lnTo>
                    <a:pt x="3000" y="8267"/>
                  </a:lnTo>
                  <a:lnTo>
                    <a:pt x="3000" y="7773"/>
                  </a:lnTo>
                  <a:lnTo>
                    <a:pt x="3011" y="7569"/>
                  </a:lnTo>
                  <a:lnTo>
                    <a:pt x="3000" y="7569"/>
                  </a:lnTo>
                  <a:lnTo>
                    <a:pt x="3000" y="6463"/>
                  </a:lnTo>
                  <a:lnTo>
                    <a:pt x="2991" y="6463"/>
                  </a:lnTo>
                  <a:lnTo>
                    <a:pt x="3000" y="6259"/>
                  </a:lnTo>
                  <a:lnTo>
                    <a:pt x="2991" y="6259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6055"/>
                  </a:lnTo>
                  <a:lnTo>
                    <a:pt x="2991" y="6055"/>
                  </a:lnTo>
                  <a:lnTo>
                    <a:pt x="3000" y="5764"/>
                  </a:lnTo>
                  <a:lnTo>
                    <a:pt x="2991" y="5764"/>
                  </a:lnTo>
                  <a:lnTo>
                    <a:pt x="2991" y="5560"/>
                  </a:lnTo>
                  <a:lnTo>
                    <a:pt x="2980" y="5444"/>
                  </a:lnTo>
                  <a:lnTo>
                    <a:pt x="2980" y="5269"/>
                  </a:lnTo>
                  <a:lnTo>
                    <a:pt x="2972" y="5269"/>
                  </a:lnTo>
                  <a:lnTo>
                    <a:pt x="2980" y="5153"/>
                  </a:lnTo>
                  <a:lnTo>
                    <a:pt x="2972" y="5153"/>
                  </a:lnTo>
                  <a:lnTo>
                    <a:pt x="2972" y="4949"/>
                  </a:lnTo>
                  <a:lnTo>
                    <a:pt x="2963" y="4949"/>
                  </a:lnTo>
                  <a:lnTo>
                    <a:pt x="2963" y="4745"/>
                  </a:lnTo>
                  <a:lnTo>
                    <a:pt x="2952" y="4658"/>
                  </a:lnTo>
                  <a:lnTo>
                    <a:pt x="2952" y="4541"/>
                  </a:lnTo>
                  <a:lnTo>
                    <a:pt x="2944" y="4337"/>
                  </a:lnTo>
                  <a:lnTo>
                    <a:pt x="2932" y="4337"/>
                  </a:lnTo>
                  <a:lnTo>
                    <a:pt x="2932" y="4134"/>
                  </a:lnTo>
                  <a:lnTo>
                    <a:pt x="2924" y="4134"/>
                  </a:lnTo>
                  <a:lnTo>
                    <a:pt x="2915" y="3930"/>
                  </a:lnTo>
                  <a:lnTo>
                    <a:pt x="2915" y="3843"/>
                  </a:lnTo>
                  <a:lnTo>
                    <a:pt x="2924" y="3551"/>
                  </a:lnTo>
                  <a:lnTo>
                    <a:pt x="2924" y="3231"/>
                  </a:lnTo>
                  <a:lnTo>
                    <a:pt x="2904" y="3348"/>
                  </a:lnTo>
                  <a:lnTo>
                    <a:pt x="2904" y="2533"/>
                  </a:lnTo>
                  <a:lnTo>
                    <a:pt x="2896" y="3231"/>
                  </a:lnTo>
                  <a:lnTo>
                    <a:pt x="2896" y="3348"/>
                  </a:lnTo>
                  <a:lnTo>
                    <a:pt x="2884" y="3348"/>
                  </a:lnTo>
                  <a:lnTo>
                    <a:pt x="2884" y="3843"/>
                  </a:lnTo>
                  <a:lnTo>
                    <a:pt x="2876" y="4250"/>
                  </a:lnTo>
                  <a:lnTo>
                    <a:pt x="2856" y="4250"/>
                  </a:lnTo>
                  <a:lnTo>
                    <a:pt x="2865" y="4454"/>
                  </a:lnTo>
                  <a:lnTo>
                    <a:pt x="2837" y="4454"/>
                  </a:lnTo>
                  <a:lnTo>
                    <a:pt x="2848" y="4658"/>
                  </a:lnTo>
                  <a:lnTo>
                    <a:pt x="2828" y="4658"/>
                  </a:lnTo>
                  <a:lnTo>
                    <a:pt x="2828" y="4949"/>
                  </a:lnTo>
                  <a:lnTo>
                    <a:pt x="2817" y="4949"/>
                  </a:lnTo>
                  <a:lnTo>
                    <a:pt x="2817" y="5153"/>
                  </a:lnTo>
                  <a:lnTo>
                    <a:pt x="2809" y="5269"/>
                  </a:lnTo>
                  <a:lnTo>
                    <a:pt x="2809" y="6957"/>
                  </a:lnTo>
                  <a:lnTo>
                    <a:pt x="2797" y="7074"/>
                  </a:lnTo>
                  <a:lnTo>
                    <a:pt x="2809" y="7278"/>
                  </a:lnTo>
                  <a:lnTo>
                    <a:pt x="2809" y="7685"/>
                  </a:lnTo>
                  <a:lnTo>
                    <a:pt x="2797" y="7685"/>
                  </a:lnTo>
                  <a:lnTo>
                    <a:pt x="2797" y="9199"/>
                  </a:lnTo>
                  <a:lnTo>
                    <a:pt x="2789" y="9286"/>
                  </a:lnTo>
                  <a:lnTo>
                    <a:pt x="2797" y="9490"/>
                  </a:lnTo>
                  <a:lnTo>
                    <a:pt x="2797" y="10509"/>
                  </a:lnTo>
                  <a:lnTo>
                    <a:pt x="2789" y="10509"/>
                  </a:lnTo>
                  <a:lnTo>
                    <a:pt x="2789" y="13915"/>
                  </a:lnTo>
                  <a:lnTo>
                    <a:pt x="2780" y="13915"/>
                  </a:lnTo>
                  <a:lnTo>
                    <a:pt x="2789" y="14322"/>
                  </a:lnTo>
                  <a:lnTo>
                    <a:pt x="2789" y="16156"/>
                  </a:lnTo>
                  <a:lnTo>
                    <a:pt x="2780" y="16156"/>
                  </a:lnTo>
                  <a:lnTo>
                    <a:pt x="2780" y="17961"/>
                  </a:lnTo>
                  <a:lnTo>
                    <a:pt x="2769" y="17961"/>
                  </a:lnTo>
                  <a:lnTo>
                    <a:pt x="2769" y="10392"/>
                  </a:lnTo>
                  <a:lnTo>
                    <a:pt x="2750" y="10392"/>
                  </a:lnTo>
                  <a:lnTo>
                    <a:pt x="2741" y="10305"/>
                  </a:lnTo>
                  <a:lnTo>
                    <a:pt x="2578" y="10305"/>
                  </a:lnTo>
                  <a:lnTo>
                    <a:pt x="2578" y="10101"/>
                  </a:lnTo>
                  <a:lnTo>
                    <a:pt x="2567" y="10101"/>
                  </a:lnTo>
                  <a:lnTo>
                    <a:pt x="2558" y="10305"/>
                  </a:lnTo>
                  <a:lnTo>
                    <a:pt x="2567" y="10305"/>
                  </a:lnTo>
                  <a:lnTo>
                    <a:pt x="2558" y="10392"/>
                  </a:lnTo>
                  <a:lnTo>
                    <a:pt x="2547" y="10392"/>
                  </a:lnTo>
                  <a:lnTo>
                    <a:pt x="2547" y="9985"/>
                  </a:lnTo>
                  <a:lnTo>
                    <a:pt x="2578" y="9985"/>
                  </a:lnTo>
                  <a:lnTo>
                    <a:pt x="2598" y="10101"/>
                  </a:lnTo>
                  <a:lnTo>
                    <a:pt x="2741" y="10101"/>
                  </a:lnTo>
                  <a:lnTo>
                    <a:pt x="2741" y="10305"/>
                  </a:lnTo>
                  <a:lnTo>
                    <a:pt x="2750" y="10305"/>
                  </a:lnTo>
                  <a:lnTo>
                    <a:pt x="2750" y="9985"/>
                  </a:lnTo>
                  <a:lnTo>
                    <a:pt x="2780" y="9985"/>
                  </a:lnTo>
                  <a:lnTo>
                    <a:pt x="2780" y="9898"/>
                  </a:lnTo>
                  <a:lnTo>
                    <a:pt x="2741" y="9898"/>
                  </a:lnTo>
                  <a:lnTo>
                    <a:pt x="2721" y="9781"/>
                  </a:lnTo>
                  <a:lnTo>
                    <a:pt x="2567" y="9781"/>
                  </a:lnTo>
                  <a:lnTo>
                    <a:pt x="2558" y="9898"/>
                  </a:lnTo>
                  <a:lnTo>
                    <a:pt x="2539" y="9898"/>
                  </a:lnTo>
                  <a:lnTo>
                    <a:pt x="2539" y="8791"/>
                  </a:lnTo>
                  <a:lnTo>
                    <a:pt x="2539" y="10596"/>
                  </a:lnTo>
                  <a:lnTo>
                    <a:pt x="2547" y="10800"/>
                  </a:lnTo>
                  <a:lnTo>
                    <a:pt x="2547" y="17961"/>
                  </a:lnTo>
                  <a:lnTo>
                    <a:pt x="2539" y="17961"/>
                  </a:lnTo>
                  <a:lnTo>
                    <a:pt x="2539" y="17757"/>
                  </a:lnTo>
                  <a:lnTo>
                    <a:pt x="2519" y="17757"/>
                  </a:lnTo>
                  <a:lnTo>
                    <a:pt x="2511" y="9781"/>
                  </a:lnTo>
                  <a:lnTo>
                    <a:pt x="2499" y="9781"/>
                  </a:lnTo>
                  <a:lnTo>
                    <a:pt x="2499" y="9374"/>
                  </a:lnTo>
                  <a:lnTo>
                    <a:pt x="2511" y="9374"/>
                  </a:lnTo>
                  <a:lnTo>
                    <a:pt x="2511" y="9199"/>
                  </a:lnTo>
                  <a:lnTo>
                    <a:pt x="2499" y="9199"/>
                  </a:lnTo>
                  <a:lnTo>
                    <a:pt x="2499" y="8267"/>
                  </a:lnTo>
                  <a:lnTo>
                    <a:pt x="2452" y="8064"/>
                  </a:lnTo>
                  <a:lnTo>
                    <a:pt x="2432" y="8180"/>
                  </a:lnTo>
                  <a:lnTo>
                    <a:pt x="2404" y="8180"/>
                  </a:lnTo>
                  <a:lnTo>
                    <a:pt x="2384" y="8384"/>
                  </a:lnTo>
                  <a:lnTo>
                    <a:pt x="2384" y="8471"/>
                  </a:lnTo>
                  <a:lnTo>
                    <a:pt x="2376" y="8675"/>
                  </a:lnTo>
                  <a:lnTo>
                    <a:pt x="2376" y="9082"/>
                  </a:lnTo>
                  <a:lnTo>
                    <a:pt x="2364" y="9199"/>
                  </a:lnTo>
                  <a:lnTo>
                    <a:pt x="2364" y="9286"/>
                  </a:lnTo>
                  <a:lnTo>
                    <a:pt x="2348" y="9286"/>
                  </a:lnTo>
                  <a:lnTo>
                    <a:pt x="2336" y="9374"/>
                  </a:lnTo>
                  <a:lnTo>
                    <a:pt x="2328" y="9374"/>
                  </a:lnTo>
                  <a:lnTo>
                    <a:pt x="2317" y="9490"/>
                  </a:lnTo>
                  <a:lnTo>
                    <a:pt x="2308" y="9490"/>
                  </a:lnTo>
                  <a:lnTo>
                    <a:pt x="2308" y="14322"/>
                  </a:lnTo>
                  <a:lnTo>
                    <a:pt x="2249" y="13915"/>
                  </a:lnTo>
                  <a:lnTo>
                    <a:pt x="2193" y="13915"/>
                  </a:lnTo>
                  <a:lnTo>
                    <a:pt x="2134" y="14322"/>
                  </a:lnTo>
                  <a:lnTo>
                    <a:pt x="2134" y="14526"/>
                  </a:lnTo>
                  <a:lnTo>
                    <a:pt x="2125" y="14526"/>
                  </a:lnTo>
                  <a:lnTo>
                    <a:pt x="2125" y="11004"/>
                  </a:lnTo>
                  <a:lnTo>
                    <a:pt x="2154" y="10887"/>
                  </a:lnTo>
                  <a:lnTo>
                    <a:pt x="2154" y="10800"/>
                  </a:lnTo>
                  <a:lnTo>
                    <a:pt x="2125" y="10713"/>
                  </a:lnTo>
                  <a:lnTo>
                    <a:pt x="2106" y="10800"/>
                  </a:lnTo>
                  <a:lnTo>
                    <a:pt x="2066" y="10800"/>
                  </a:lnTo>
                  <a:lnTo>
                    <a:pt x="2058" y="10887"/>
                  </a:lnTo>
                  <a:lnTo>
                    <a:pt x="2038" y="10887"/>
                  </a:lnTo>
                  <a:lnTo>
                    <a:pt x="2019" y="11004"/>
                  </a:lnTo>
                  <a:lnTo>
                    <a:pt x="1990" y="11004"/>
                  </a:lnTo>
                  <a:lnTo>
                    <a:pt x="1971" y="11091"/>
                  </a:lnTo>
                  <a:lnTo>
                    <a:pt x="1923" y="11091"/>
                  </a:lnTo>
                  <a:lnTo>
                    <a:pt x="1895" y="11295"/>
                  </a:lnTo>
                  <a:lnTo>
                    <a:pt x="1895" y="11411"/>
                  </a:lnTo>
                  <a:lnTo>
                    <a:pt x="1903" y="11411"/>
                  </a:lnTo>
                  <a:lnTo>
                    <a:pt x="1903" y="11499"/>
                  </a:lnTo>
                  <a:lnTo>
                    <a:pt x="1895" y="11615"/>
                  </a:lnTo>
                  <a:lnTo>
                    <a:pt x="1895" y="14643"/>
                  </a:lnTo>
                  <a:lnTo>
                    <a:pt x="1875" y="14322"/>
                  </a:lnTo>
                  <a:lnTo>
                    <a:pt x="1875" y="12721"/>
                  </a:lnTo>
                  <a:lnTo>
                    <a:pt x="1856" y="12721"/>
                  </a:lnTo>
                  <a:lnTo>
                    <a:pt x="1856" y="11819"/>
                  </a:lnTo>
                  <a:lnTo>
                    <a:pt x="1847" y="10509"/>
                  </a:lnTo>
                  <a:lnTo>
                    <a:pt x="1847" y="12721"/>
                  </a:lnTo>
                  <a:lnTo>
                    <a:pt x="1827" y="12721"/>
                  </a:lnTo>
                  <a:lnTo>
                    <a:pt x="1799" y="12605"/>
                  </a:lnTo>
                  <a:lnTo>
                    <a:pt x="1780" y="12605"/>
                  </a:lnTo>
                  <a:lnTo>
                    <a:pt x="1780" y="11819"/>
                  </a:lnTo>
                  <a:lnTo>
                    <a:pt x="1788" y="11819"/>
                  </a:lnTo>
                  <a:lnTo>
                    <a:pt x="1780" y="11819"/>
                  </a:lnTo>
                  <a:lnTo>
                    <a:pt x="1780" y="11702"/>
                  </a:lnTo>
                  <a:lnTo>
                    <a:pt x="1780" y="12605"/>
                  </a:lnTo>
                  <a:lnTo>
                    <a:pt x="1760" y="12605"/>
                  </a:lnTo>
                  <a:lnTo>
                    <a:pt x="1760" y="12721"/>
                  </a:lnTo>
                  <a:lnTo>
                    <a:pt x="1749" y="12721"/>
                  </a:lnTo>
                  <a:lnTo>
                    <a:pt x="1749" y="14322"/>
                  </a:lnTo>
                  <a:lnTo>
                    <a:pt x="1732" y="14526"/>
                  </a:lnTo>
                  <a:lnTo>
                    <a:pt x="1732" y="12023"/>
                  </a:lnTo>
                  <a:lnTo>
                    <a:pt x="1721" y="11819"/>
                  </a:lnTo>
                  <a:lnTo>
                    <a:pt x="1721" y="11702"/>
                  </a:lnTo>
                  <a:lnTo>
                    <a:pt x="1712" y="11702"/>
                  </a:lnTo>
                  <a:lnTo>
                    <a:pt x="1712" y="11411"/>
                  </a:lnTo>
                  <a:lnTo>
                    <a:pt x="1645" y="11615"/>
                  </a:lnTo>
                  <a:lnTo>
                    <a:pt x="1577" y="12023"/>
                  </a:lnTo>
                  <a:lnTo>
                    <a:pt x="1577" y="11819"/>
                  </a:lnTo>
                  <a:lnTo>
                    <a:pt x="1538" y="11702"/>
                  </a:lnTo>
                  <a:lnTo>
                    <a:pt x="1529" y="11702"/>
                  </a:lnTo>
                  <a:lnTo>
                    <a:pt x="1498" y="11906"/>
                  </a:lnTo>
                  <a:lnTo>
                    <a:pt x="1490" y="11906"/>
                  </a:lnTo>
                  <a:lnTo>
                    <a:pt x="1470" y="12110"/>
                  </a:lnTo>
                  <a:lnTo>
                    <a:pt x="1470" y="14119"/>
                  </a:lnTo>
                  <a:lnTo>
                    <a:pt x="1414" y="13507"/>
                  </a:lnTo>
                  <a:lnTo>
                    <a:pt x="1366" y="13012"/>
                  </a:lnTo>
                  <a:lnTo>
                    <a:pt x="1366" y="11702"/>
                  </a:lnTo>
                  <a:lnTo>
                    <a:pt x="1355" y="11702"/>
                  </a:lnTo>
                  <a:lnTo>
                    <a:pt x="1355" y="12110"/>
                  </a:lnTo>
                  <a:lnTo>
                    <a:pt x="1347" y="12110"/>
                  </a:lnTo>
                  <a:lnTo>
                    <a:pt x="1347" y="11702"/>
                  </a:lnTo>
                  <a:lnTo>
                    <a:pt x="1347" y="13012"/>
                  </a:lnTo>
                  <a:lnTo>
                    <a:pt x="1335" y="13012"/>
                  </a:lnTo>
                  <a:lnTo>
                    <a:pt x="1335" y="14439"/>
                  </a:lnTo>
                  <a:lnTo>
                    <a:pt x="1288" y="14817"/>
                  </a:lnTo>
                  <a:lnTo>
                    <a:pt x="1288" y="10509"/>
                  </a:lnTo>
                  <a:lnTo>
                    <a:pt x="1268" y="10392"/>
                  </a:lnTo>
                  <a:lnTo>
                    <a:pt x="1268" y="9199"/>
                  </a:lnTo>
                  <a:lnTo>
                    <a:pt x="1260" y="9199"/>
                  </a:lnTo>
                  <a:lnTo>
                    <a:pt x="1260" y="8471"/>
                  </a:lnTo>
                  <a:lnTo>
                    <a:pt x="1240" y="8471"/>
                  </a:lnTo>
                  <a:lnTo>
                    <a:pt x="1240" y="7976"/>
                  </a:lnTo>
                  <a:lnTo>
                    <a:pt x="1220" y="7976"/>
                  </a:lnTo>
                  <a:lnTo>
                    <a:pt x="1220" y="6754"/>
                  </a:lnTo>
                  <a:lnTo>
                    <a:pt x="1212" y="6754"/>
                  </a:lnTo>
                  <a:lnTo>
                    <a:pt x="1212" y="7685"/>
                  </a:lnTo>
                  <a:lnTo>
                    <a:pt x="1200" y="7685"/>
                  </a:lnTo>
                  <a:lnTo>
                    <a:pt x="1200" y="7976"/>
                  </a:lnTo>
                  <a:lnTo>
                    <a:pt x="1192" y="7976"/>
                  </a:lnTo>
                  <a:lnTo>
                    <a:pt x="1192" y="8384"/>
                  </a:lnTo>
                  <a:lnTo>
                    <a:pt x="1096" y="8384"/>
                  </a:lnTo>
                  <a:lnTo>
                    <a:pt x="1018" y="8471"/>
                  </a:lnTo>
                  <a:lnTo>
                    <a:pt x="1018" y="9082"/>
                  </a:lnTo>
                  <a:lnTo>
                    <a:pt x="981" y="9082"/>
                  </a:lnTo>
                  <a:lnTo>
                    <a:pt x="981" y="10305"/>
                  </a:lnTo>
                  <a:lnTo>
                    <a:pt x="942" y="10392"/>
                  </a:lnTo>
                  <a:lnTo>
                    <a:pt x="950" y="17350"/>
                  </a:lnTo>
                  <a:lnTo>
                    <a:pt x="914" y="17554"/>
                  </a:lnTo>
                  <a:lnTo>
                    <a:pt x="902" y="10101"/>
                  </a:lnTo>
                  <a:lnTo>
                    <a:pt x="692" y="10101"/>
                  </a:lnTo>
                  <a:lnTo>
                    <a:pt x="711" y="18369"/>
                  </a:lnTo>
                  <a:lnTo>
                    <a:pt x="692" y="18456"/>
                  </a:lnTo>
                  <a:lnTo>
                    <a:pt x="692" y="13624"/>
                  </a:lnTo>
                  <a:lnTo>
                    <a:pt x="672" y="13624"/>
                  </a:lnTo>
                  <a:lnTo>
                    <a:pt x="672" y="13507"/>
                  </a:lnTo>
                  <a:lnTo>
                    <a:pt x="663" y="13507"/>
                  </a:lnTo>
                  <a:lnTo>
                    <a:pt x="652" y="13420"/>
                  </a:lnTo>
                  <a:lnTo>
                    <a:pt x="576" y="13420"/>
                  </a:lnTo>
                  <a:lnTo>
                    <a:pt x="576" y="13507"/>
                  </a:lnTo>
                  <a:lnTo>
                    <a:pt x="565" y="13507"/>
                  </a:lnTo>
                  <a:lnTo>
                    <a:pt x="576" y="11295"/>
                  </a:lnTo>
                  <a:lnTo>
                    <a:pt x="537" y="11295"/>
                  </a:lnTo>
                  <a:lnTo>
                    <a:pt x="365" y="10887"/>
                  </a:lnTo>
                  <a:lnTo>
                    <a:pt x="346" y="10800"/>
                  </a:lnTo>
                  <a:lnTo>
                    <a:pt x="346" y="13711"/>
                  </a:lnTo>
                  <a:lnTo>
                    <a:pt x="326" y="13711"/>
                  </a:lnTo>
                  <a:lnTo>
                    <a:pt x="326" y="13333"/>
                  </a:lnTo>
                  <a:lnTo>
                    <a:pt x="306" y="13333"/>
                  </a:lnTo>
                  <a:lnTo>
                    <a:pt x="306" y="12023"/>
                  </a:lnTo>
                  <a:lnTo>
                    <a:pt x="298" y="12023"/>
                  </a:lnTo>
                  <a:lnTo>
                    <a:pt x="298" y="11091"/>
                  </a:lnTo>
                  <a:lnTo>
                    <a:pt x="287" y="11091"/>
                  </a:lnTo>
                  <a:lnTo>
                    <a:pt x="287" y="12023"/>
                  </a:lnTo>
                  <a:lnTo>
                    <a:pt x="278" y="12023"/>
                  </a:lnTo>
                  <a:lnTo>
                    <a:pt x="278" y="12314"/>
                  </a:lnTo>
                  <a:lnTo>
                    <a:pt x="171" y="12314"/>
                  </a:lnTo>
                  <a:lnTo>
                    <a:pt x="171" y="12023"/>
                  </a:lnTo>
                  <a:lnTo>
                    <a:pt x="163" y="12023"/>
                  </a:lnTo>
                  <a:lnTo>
                    <a:pt x="163" y="11091"/>
                  </a:lnTo>
                  <a:lnTo>
                    <a:pt x="163" y="12023"/>
                  </a:lnTo>
                  <a:lnTo>
                    <a:pt x="143" y="12023"/>
                  </a:lnTo>
                  <a:lnTo>
                    <a:pt x="143" y="13333"/>
                  </a:lnTo>
                  <a:lnTo>
                    <a:pt x="132" y="13333"/>
                  </a:lnTo>
                  <a:lnTo>
                    <a:pt x="132" y="17059"/>
                  </a:lnTo>
                  <a:lnTo>
                    <a:pt x="104" y="17059"/>
                  </a:lnTo>
                  <a:lnTo>
                    <a:pt x="104" y="17641"/>
                  </a:lnTo>
                  <a:lnTo>
                    <a:pt x="48" y="17641"/>
                  </a:lnTo>
                  <a:lnTo>
                    <a:pt x="48" y="17263"/>
                  </a:lnTo>
                  <a:lnTo>
                    <a:pt x="0" y="17263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7059"/>
                  </a:lnTo>
                  <a:lnTo>
                    <a:pt x="21485" y="15953"/>
                  </a:lnTo>
                  <a:close/>
                  <a:moveTo>
                    <a:pt x="1355" y="12518"/>
                  </a:moveTo>
                  <a:lnTo>
                    <a:pt x="1355" y="12197"/>
                  </a:lnTo>
                  <a:lnTo>
                    <a:pt x="1355" y="12518"/>
                  </a:lnTo>
                  <a:close/>
                  <a:moveTo>
                    <a:pt x="1347" y="12110"/>
                  </a:moveTo>
                  <a:lnTo>
                    <a:pt x="1355" y="12110"/>
                  </a:lnTo>
                  <a:lnTo>
                    <a:pt x="1355" y="12314"/>
                  </a:lnTo>
                  <a:lnTo>
                    <a:pt x="1347" y="12110"/>
                  </a:lnTo>
                  <a:close/>
                  <a:moveTo>
                    <a:pt x="1355" y="12401"/>
                  </a:moveTo>
                  <a:lnTo>
                    <a:pt x="1347" y="12518"/>
                  </a:lnTo>
                  <a:lnTo>
                    <a:pt x="1347" y="12197"/>
                  </a:lnTo>
                  <a:lnTo>
                    <a:pt x="1355" y="12401"/>
                  </a:lnTo>
                  <a:close/>
                  <a:moveTo>
                    <a:pt x="1347" y="12605"/>
                  </a:moveTo>
                  <a:lnTo>
                    <a:pt x="1355" y="12401"/>
                  </a:lnTo>
                  <a:lnTo>
                    <a:pt x="1355" y="12605"/>
                  </a:lnTo>
                  <a:lnTo>
                    <a:pt x="1347" y="12605"/>
                  </a:lnTo>
                  <a:close/>
                  <a:moveTo>
                    <a:pt x="1347" y="12605"/>
                  </a:moveTo>
                  <a:lnTo>
                    <a:pt x="1355" y="12605"/>
                  </a:lnTo>
                  <a:lnTo>
                    <a:pt x="1355" y="12809"/>
                  </a:lnTo>
                  <a:lnTo>
                    <a:pt x="1347" y="12605"/>
                  </a:lnTo>
                  <a:close/>
                  <a:moveTo>
                    <a:pt x="1347" y="13012"/>
                  </a:moveTo>
                  <a:lnTo>
                    <a:pt x="1347" y="12721"/>
                  </a:lnTo>
                  <a:lnTo>
                    <a:pt x="1355" y="12809"/>
                  </a:lnTo>
                  <a:lnTo>
                    <a:pt x="1347" y="13012"/>
                  </a:lnTo>
                  <a:close/>
                  <a:moveTo>
                    <a:pt x="1347" y="13012"/>
                  </a:moveTo>
                  <a:lnTo>
                    <a:pt x="1355" y="12925"/>
                  </a:lnTo>
                  <a:lnTo>
                    <a:pt x="1355" y="13012"/>
                  </a:lnTo>
                  <a:lnTo>
                    <a:pt x="1347" y="13012"/>
                  </a:lnTo>
                  <a:close/>
                  <a:moveTo>
                    <a:pt x="1355" y="13012"/>
                  </a:moveTo>
                  <a:lnTo>
                    <a:pt x="1355" y="12605"/>
                  </a:lnTo>
                  <a:lnTo>
                    <a:pt x="1355" y="13012"/>
                  </a:lnTo>
                  <a:close/>
                  <a:moveTo>
                    <a:pt x="3337" y="2242"/>
                  </a:moveTo>
                  <a:lnTo>
                    <a:pt x="3337" y="2329"/>
                  </a:lnTo>
                  <a:lnTo>
                    <a:pt x="3329" y="2736"/>
                  </a:lnTo>
                  <a:lnTo>
                    <a:pt x="3329" y="3231"/>
                  </a:lnTo>
                  <a:lnTo>
                    <a:pt x="3183" y="3231"/>
                  </a:lnTo>
                  <a:lnTo>
                    <a:pt x="3183" y="3144"/>
                  </a:lnTo>
                  <a:lnTo>
                    <a:pt x="3174" y="2736"/>
                  </a:lnTo>
                  <a:lnTo>
                    <a:pt x="3174" y="2242"/>
                  </a:lnTo>
                  <a:lnTo>
                    <a:pt x="3166" y="2038"/>
                  </a:lnTo>
                  <a:lnTo>
                    <a:pt x="3348" y="2038"/>
                  </a:lnTo>
                  <a:lnTo>
                    <a:pt x="3337" y="2242"/>
                  </a:lnTo>
                  <a:close/>
                </a:path>
              </a:pathLst>
            </a:cu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" name="Rectangle 68"/>
            <p:cNvSpPr/>
            <p:nvPr/>
          </p:nvSpPr>
          <p:spPr>
            <a:xfrm>
              <a:off x="-2" y="1172442"/>
              <a:ext cx="12192006" cy="1579148"/>
            </a:xfrm>
            <a:prstGeom prst="rect">
              <a:avLst/>
            </a:prstGeom>
            <a:solidFill>
              <a:srgbClr val="D1E2EB">
                <a:alpha val="2902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</p:grpSp>
      <p:sp>
        <p:nvSpPr>
          <p:cNvPr id="7" name="Straight Connector 85"/>
          <p:cNvSpPr/>
          <p:nvPr userDrawn="1"/>
        </p:nvSpPr>
        <p:spPr>
          <a:xfrm flipH="1">
            <a:off x="1762474" y="3634518"/>
            <a:ext cx="2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Straight Connector 88"/>
          <p:cNvSpPr/>
          <p:nvPr userDrawn="1"/>
        </p:nvSpPr>
        <p:spPr>
          <a:xfrm>
            <a:off x="3869656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Straight Connector 90"/>
          <p:cNvSpPr/>
          <p:nvPr userDrawn="1"/>
        </p:nvSpPr>
        <p:spPr>
          <a:xfrm>
            <a:off x="5981843" y="2720487"/>
            <a:ext cx="168" cy="2085833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" name="Straight Connector 92"/>
          <p:cNvSpPr/>
          <p:nvPr userDrawn="1"/>
        </p:nvSpPr>
        <p:spPr>
          <a:xfrm>
            <a:off x="10186540" y="3634518"/>
            <a:ext cx="3" cy="1171802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" name="Straight Connector 93"/>
          <p:cNvSpPr/>
          <p:nvPr userDrawn="1"/>
        </p:nvSpPr>
        <p:spPr>
          <a:xfrm>
            <a:off x="8080681" y="3148263"/>
            <a:ext cx="3" cy="1658055"/>
          </a:xfrm>
          <a:prstGeom prst="line">
            <a:avLst/>
          </a:prstGeom>
          <a:ln w="19050">
            <a:solidFill>
              <a:srgbClr val="CDCDCD"/>
            </a:solidFill>
            <a:headEnd type="oval"/>
            <a:tailEnd type="oval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1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969192" y="535144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59" hasCustomPrompt="1"/>
          </p:nvPr>
        </p:nvSpPr>
        <p:spPr>
          <a:xfrm>
            <a:off x="974199" y="562683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60" hasCustomPrompt="1"/>
          </p:nvPr>
        </p:nvSpPr>
        <p:spPr>
          <a:xfrm>
            <a:off x="3076374" y="5356790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61" hasCustomPrompt="1"/>
          </p:nvPr>
        </p:nvSpPr>
        <p:spPr>
          <a:xfrm>
            <a:off x="3081381" y="5632181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62" hasCustomPrompt="1"/>
          </p:nvPr>
        </p:nvSpPr>
        <p:spPr>
          <a:xfrm>
            <a:off x="5183590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63" hasCustomPrompt="1"/>
          </p:nvPr>
        </p:nvSpPr>
        <p:spPr>
          <a:xfrm>
            <a:off x="5188597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64" hasCustomPrompt="1"/>
          </p:nvPr>
        </p:nvSpPr>
        <p:spPr>
          <a:xfrm>
            <a:off x="7305861" y="5345602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65" hasCustomPrompt="1"/>
          </p:nvPr>
        </p:nvSpPr>
        <p:spPr>
          <a:xfrm>
            <a:off x="7300820" y="5620993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66" hasCustomPrompt="1"/>
          </p:nvPr>
        </p:nvSpPr>
        <p:spPr>
          <a:xfrm>
            <a:off x="9405553" y="5339764"/>
            <a:ext cx="1556453" cy="269553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67" hasCustomPrompt="1"/>
          </p:nvPr>
        </p:nvSpPr>
        <p:spPr>
          <a:xfrm>
            <a:off x="9410560" y="5615155"/>
            <a:ext cx="1556453" cy="597650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.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68" hasCustomPrompt="1"/>
          </p:nvPr>
        </p:nvSpPr>
        <p:spPr>
          <a:xfrm>
            <a:off x="977737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69" hasCustomPrompt="1"/>
          </p:nvPr>
        </p:nvSpPr>
        <p:spPr>
          <a:xfrm>
            <a:off x="9411126" y="4085642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70" hasCustomPrompt="1"/>
          </p:nvPr>
        </p:nvSpPr>
        <p:spPr>
          <a:xfrm>
            <a:off x="7309640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71" hasCustomPrompt="1"/>
          </p:nvPr>
        </p:nvSpPr>
        <p:spPr>
          <a:xfrm>
            <a:off x="5203615" y="3628627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72" hasCustomPrompt="1"/>
          </p:nvPr>
        </p:nvSpPr>
        <p:spPr>
          <a:xfrm>
            <a:off x="3090105" y="3842513"/>
            <a:ext cx="1556453" cy="269553"/>
          </a:xfrm>
          <a:solidFill>
            <a:srgbClr val="F2F7F9"/>
          </a:solidFill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477771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7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797090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8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573785" y="2450557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9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685437" y="2026123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40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9884808" y="2936914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41" name="Straight Connector 40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15363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traight Connector 4"/>
          <p:cNvSpPr/>
          <p:nvPr userDrawn="1"/>
        </p:nvSpPr>
        <p:spPr>
          <a:xfrm flipV="1">
            <a:off x="2692399" y="6477001"/>
            <a:ext cx="4" cy="3810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" name="Oval 10"/>
          <p:cNvSpPr/>
          <p:nvPr userDrawn="1"/>
        </p:nvSpPr>
        <p:spPr>
          <a:xfrm>
            <a:off x="2635150" y="6360643"/>
            <a:ext cx="114503" cy="114503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3"/>
          <p:cNvSpPr/>
          <p:nvPr userDrawn="1"/>
        </p:nvSpPr>
        <p:spPr>
          <a:xfrm>
            <a:off x="2635150" y="3930786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8"/>
          <p:cNvSpPr/>
          <p:nvPr userDrawn="1"/>
        </p:nvSpPr>
        <p:spPr>
          <a:xfrm>
            <a:off x="2635150" y="4539912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8" name="Straight Connector 13"/>
          <p:cNvSpPr/>
          <p:nvPr userDrawn="1"/>
        </p:nvSpPr>
        <p:spPr>
          <a:xfrm flipV="1">
            <a:off x="2692399" y="4041115"/>
            <a:ext cx="4" cy="50297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" name="Oval 7"/>
          <p:cNvSpPr/>
          <p:nvPr userDrawn="1"/>
        </p:nvSpPr>
        <p:spPr>
          <a:xfrm>
            <a:off x="2032000" y="2413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Oval 6"/>
          <p:cNvSpPr/>
          <p:nvPr userDrawn="1"/>
        </p:nvSpPr>
        <p:spPr>
          <a:xfrm>
            <a:off x="20320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7" name="Text Placeholder 25"/>
          <p:cNvSpPr>
            <a:spLocks noGrp="1"/>
          </p:cNvSpPr>
          <p:nvPr>
            <p:ph type="body" sz="quarter" idx="61" hasCustomPrompt="1"/>
          </p:nvPr>
        </p:nvSpPr>
        <p:spPr>
          <a:xfrm>
            <a:off x="3690661" y="254183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0" name="Text Placeholder 119"/>
          <p:cNvSpPr>
            <a:spLocks noGrp="1"/>
          </p:cNvSpPr>
          <p:nvPr>
            <p:ph type="body" sz="quarter" idx="62" hasCustomPrompt="1"/>
          </p:nvPr>
        </p:nvSpPr>
        <p:spPr>
          <a:xfrm>
            <a:off x="3690661" y="280635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1" name="Text Placeholder 25"/>
          <p:cNvSpPr>
            <a:spLocks noGrp="1"/>
          </p:cNvSpPr>
          <p:nvPr>
            <p:ph type="body" sz="quarter" idx="63" hasCustomPrompt="1"/>
          </p:nvPr>
        </p:nvSpPr>
        <p:spPr>
          <a:xfrm>
            <a:off x="3690661" y="5037384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22" name="Text Placeholder 119"/>
          <p:cNvSpPr>
            <a:spLocks noGrp="1"/>
          </p:cNvSpPr>
          <p:nvPr>
            <p:ph type="body" sz="quarter" idx="64" hasCustomPrompt="1"/>
          </p:nvPr>
        </p:nvSpPr>
        <p:spPr>
          <a:xfrm>
            <a:off x="3690661" y="5301906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2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8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330795" y="27734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29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330795" y="5211838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30" name="Text Placeholder 12"/>
          <p:cNvSpPr>
            <a:spLocks noGrp="1"/>
          </p:cNvSpPr>
          <p:nvPr>
            <p:ph type="body" sz="quarter" idx="75" hasCustomPrompt="1"/>
          </p:nvPr>
        </p:nvSpPr>
        <p:spPr>
          <a:xfrm>
            <a:off x="2286689" y="266726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1" name="Text Placeholder 12"/>
          <p:cNvSpPr>
            <a:spLocks noGrp="1"/>
          </p:cNvSpPr>
          <p:nvPr>
            <p:ph type="body" sz="quarter" idx="76" hasCustomPrompt="1"/>
          </p:nvPr>
        </p:nvSpPr>
        <p:spPr>
          <a:xfrm>
            <a:off x="2286689" y="5102664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32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22" name="Straight Connector 2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25101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Oval 8"/>
          <p:cNvSpPr/>
          <p:nvPr userDrawn="1"/>
        </p:nvSpPr>
        <p:spPr>
          <a:xfrm>
            <a:off x="2635150" y="25335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Oval 9"/>
          <p:cNvSpPr/>
          <p:nvPr userDrawn="1"/>
        </p:nvSpPr>
        <p:spPr>
          <a:xfrm>
            <a:off x="5206786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" name="Oval 10"/>
          <p:cNvSpPr/>
          <p:nvPr userDrawn="1"/>
        </p:nvSpPr>
        <p:spPr>
          <a:xfrm>
            <a:off x="6870089" y="325739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7" name="Oval 13"/>
          <p:cNvSpPr/>
          <p:nvPr userDrawn="1"/>
        </p:nvSpPr>
        <p:spPr>
          <a:xfrm>
            <a:off x="9137550" y="4362350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grpSp>
        <p:nvGrpSpPr>
          <p:cNvPr id="8" name="Group 46"/>
          <p:cNvGrpSpPr/>
          <p:nvPr userDrawn="1"/>
        </p:nvGrpSpPr>
        <p:grpSpPr>
          <a:xfrm>
            <a:off x="2623128" y="-3"/>
            <a:ext cx="138545" cy="977382"/>
            <a:chOff x="0" y="0"/>
            <a:chExt cx="138544" cy="977381"/>
          </a:xfrm>
        </p:grpSpPr>
        <p:sp>
          <p:nvSpPr>
            <p:cNvPr id="9" name="Oval 7"/>
            <p:cNvSpPr/>
            <p:nvPr/>
          </p:nvSpPr>
          <p:spPr>
            <a:xfrm>
              <a:off x="0" y="851427"/>
              <a:ext cx="138545" cy="125955"/>
            </a:xfrm>
            <a:prstGeom prst="ellips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2400">
                  <a:solidFill>
                    <a:srgbClr val="FFFFFF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69269" y="0"/>
              <a:ext cx="3" cy="838206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1" name="Oval 14"/>
          <p:cNvSpPr/>
          <p:nvPr userDrawn="1"/>
        </p:nvSpPr>
        <p:spPr>
          <a:xfrm>
            <a:off x="9137550" y="6140350"/>
            <a:ext cx="114503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2" name="Oval 5"/>
          <p:cNvSpPr/>
          <p:nvPr userDrawn="1"/>
        </p:nvSpPr>
        <p:spPr>
          <a:xfrm>
            <a:off x="2032000" y="1092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3" name="Oval 6"/>
          <p:cNvSpPr/>
          <p:nvPr userDrawn="1"/>
        </p:nvSpPr>
        <p:spPr>
          <a:xfrm>
            <a:off x="5435600" y="26416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4" name="Oval 4"/>
          <p:cNvSpPr/>
          <p:nvPr userDrawn="1"/>
        </p:nvSpPr>
        <p:spPr>
          <a:xfrm>
            <a:off x="8534400" y="46482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cxnSp>
        <p:nvCxnSpPr>
          <p:cNvPr id="95" name="Elbow Connector 9"/>
          <p:cNvCxnSpPr>
            <a:stCxn id="4" idx="4"/>
            <a:endCxn id="5" idx="2"/>
          </p:cNvCxnSpPr>
          <p:nvPr userDrawn="1"/>
        </p:nvCxnSpPr>
        <p:spPr>
          <a:xfrm rot="16200000" flipH="1">
            <a:off x="3616297" y="1724160"/>
            <a:ext cx="666594" cy="2514383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cxnSp>
        <p:nvCxnSpPr>
          <p:cNvPr id="96" name="Elbow Connector 110"/>
          <p:cNvCxnSpPr>
            <a:stCxn id="6" idx="6"/>
            <a:endCxn id="7" idx="0"/>
          </p:cNvCxnSpPr>
          <p:nvPr userDrawn="1"/>
        </p:nvCxnSpPr>
        <p:spPr>
          <a:xfrm>
            <a:off x="6984594" y="3314649"/>
            <a:ext cx="2210209" cy="1047701"/>
          </a:xfrm>
          <a:prstGeom prst="bentConnector2">
            <a:avLst/>
          </a:prstGeom>
          <a:ln>
            <a:solidFill>
              <a:srgbClr val="FFFFFF"/>
            </a:solidFill>
          </a:ln>
        </p:spPr>
      </p:cxnSp>
      <p:sp>
        <p:nvSpPr>
          <p:cNvPr id="105" name="Text Placeholder 25"/>
          <p:cNvSpPr>
            <a:spLocks noGrp="1"/>
          </p:cNvSpPr>
          <p:nvPr>
            <p:ph type="body" sz="quarter" idx="67" hasCustomPrompt="1"/>
          </p:nvPr>
        </p:nvSpPr>
        <p:spPr>
          <a:xfrm>
            <a:off x="3606791" y="1273349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6" name="Text Placeholder 119"/>
          <p:cNvSpPr>
            <a:spLocks noGrp="1"/>
          </p:cNvSpPr>
          <p:nvPr>
            <p:ph type="body" sz="quarter" idx="68" hasCustomPrompt="1"/>
          </p:nvPr>
        </p:nvSpPr>
        <p:spPr>
          <a:xfrm>
            <a:off x="3606791" y="1537871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7" name="Text Placeholder 25"/>
          <p:cNvSpPr>
            <a:spLocks noGrp="1"/>
          </p:cNvSpPr>
          <p:nvPr>
            <p:ph type="body" sz="quarter" idx="69" hasCustomPrompt="1"/>
          </p:nvPr>
        </p:nvSpPr>
        <p:spPr>
          <a:xfrm>
            <a:off x="6925362" y="2052386"/>
            <a:ext cx="2683967" cy="25085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08" name="Text Placeholder 119"/>
          <p:cNvSpPr>
            <a:spLocks noGrp="1"/>
          </p:cNvSpPr>
          <p:nvPr>
            <p:ph type="body" sz="quarter" idx="70" hasCustomPrompt="1"/>
          </p:nvPr>
        </p:nvSpPr>
        <p:spPr>
          <a:xfrm>
            <a:off x="6925362" y="2316908"/>
            <a:ext cx="2683690" cy="769138"/>
          </a:xfrm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pt-PT"/>
          </a:p>
        </p:txBody>
      </p:sp>
      <p:sp>
        <p:nvSpPr>
          <p:cNvPr id="109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73" hasCustomPrompt="1"/>
          </p:nvPr>
        </p:nvSpPr>
        <p:spPr>
          <a:xfrm>
            <a:off x="413963" y="1460589"/>
            <a:ext cx="1363344" cy="599924"/>
          </a:xfr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6" name="Text Placeholder 114"/>
          <p:cNvSpPr>
            <a:spLocks noGrp="1"/>
          </p:cNvSpPr>
          <p:nvPr>
            <p:ph type="body" sz="quarter" idx="74" hasCustomPrompt="1"/>
          </p:nvPr>
        </p:nvSpPr>
        <p:spPr>
          <a:xfrm>
            <a:off x="5435600" y="4114300"/>
            <a:ext cx="1363344" cy="59992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118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072935" y="50086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1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120" name="Text Placeholder 12"/>
          <p:cNvSpPr>
            <a:spLocks noGrp="1"/>
          </p:cNvSpPr>
          <p:nvPr>
            <p:ph type="body" sz="quarter" idx="77" hasCustomPrompt="1"/>
          </p:nvPr>
        </p:nvSpPr>
        <p:spPr>
          <a:xfrm>
            <a:off x="2286687" y="1354841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1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5694503" y="2908938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2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89090" y="49028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23" name="Straight Connector 20"/>
          <p:cNvSpPr/>
          <p:nvPr userDrawn="1"/>
        </p:nvSpPr>
        <p:spPr>
          <a:xfrm flipH="1">
            <a:off x="9194799" y="6273798"/>
            <a:ext cx="4" cy="584206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463841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3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Straight Connector 3"/>
          <p:cNvSpPr/>
          <p:nvPr userDrawn="1"/>
        </p:nvSpPr>
        <p:spPr>
          <a:xfrm>
            <a:off x="9194799" y="-2"/>
            <a:ext cx="5671" cy="1600205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23"/>
          <p:cNvSpPr/>
          <p:nvPr userDrawn="1"/>
        </p:nvSpPr>
        <p:spPr>
          <a:xfrm>
            <a:off x="9143217" y="1601566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Oval 21"/>
          <p:cNvSpPr/>
          <p:nvPr userDrawn="1"/>
        </p:nvSpPr>
        <p:spPr>
          <a:xfrm>
            <a:off x="9134716" y="4547965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7" name="Oval 22"/>
          <p:cNvSpPr/>
          <p:nvPr userDrawn="1"/>
        </p:nvSpPr>
        <p:spPr>
          <a:xfrm>
            <a:off x="9140383" y="3414733"/>
            <a:ext cx="114505" cy="114505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26"/>
          <p:cNvSpPr/>
          <p:nvPr userDrawn="1"/>
        </p:nvSpPr>
        <p:spPr>
          <a:xfrm flipH="1">
            <a:off x="9191966" y="3530598"/>
            <a:ext cx="5671" cy="101600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1"/>
          <p:cNvSpPr/>
          <p:nvPr userDrawn="1"/>
        </p:nvSpPr>
        <p:spPr>
          <a:xfrm>
            <a:off x="8534400" y="48514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Oval 11"/>
          <p:cNvSpPr/>
          <p:nvPr userDrawn="1"/>
        </p:nvSpPr>
        <p:spPr>
          <a:xfrm>
            <a:off x="8534400" y="1905000"/>
            <a:ext cx="1320800" cy="1320800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6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2" name="Text Placeholder 114"/>
          <p:cNvSpPr>
            <a:spLocks noGrp="1"/>
          </p:cNvSpPr>
          <p:nvPr>
            <p:ph type="body" sz="quarter" idx="76" hasCustomPrompt="1"/>
          </p:nvPr>
        </p:nvSpPr>
        <p:spPr>
          <a:xfrm>
            <a:off x="10122393" y="22654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3" name="Text Placeholder 114"/>
          <p:cNvSpPr>
            <a:spLocks noGrp="1"/>
          </p:cNvSpPr>
          <p:nvPr>
            <p:ph type="body" sz="quarter" idx="77" hasCustomPrompt="1"/>
          </p:nvPr>
        </p:nvSpPr>
        <p:spPr>
          <a:xfrm>
            <a:off x="10122393" y="5211838"/>
            <a:ext cx="1363344" cy="59992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  <a:p>
            <a:pPr lvl="0"/>
            <a:r>
              <a:rPr lang="en-US"/>
              <a:t>Month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78" hasCustomPrompt="1"/>
          </p:nvPr>
        </p:nvSpPr>
        <p:spPr>
          <a:xfrm>
            <a:off x="8786256" y="21596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5" name="Text Placeholder 12"/>
          <p:cNvSpPr>
            <a:spLocks noGrp="1"/>
          </p:cNvSpPr>
          <p:nvPr>
            <p:ph type="body" sz="quarter" idx="79" hasCustomPrompt="1"/>
          </p:nvPr>
        </p:nvSpPr>
        <p:spPr>
          <a:xfrm>
            <a:off x="8794759" y="5106090"/>
            <a:ext cx="811420" cy="811420"/>
          </a:xfrm>
          <a:prstGeom prst="ellipse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66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5645965" y="4839651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7" name="Text Placeholder 114"/>
          <p:cNvSpPr>
            <a:spLocks noGrp="1"/>
          </p:cNvSpPr>
          <p:nvPr>
            <p:ph type="body" sz="quarter" idx="75" hasCustomPrompt="1"/>
          </p:nvPr>
        </p:nvSpPr>
        <p:spPr>
          <a:xfrm>
            <a:off x="5645965" y="5090506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  <p:sp>
        <p:nvSpPr>
          <p:cNvPr id="6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5645688" y="2014583"/>
            <a:ext cx="2683967" cy="250855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69" name="Text Placeholder 114"/>
          <p:cNvSpPr>
            <a:spLocks noGrp="1"/>
          </p:cNvSpPr>
          <p:nvPr>
            <p:ph type="body" sz="quarter" idx="81" hasCustomPrompt="1"/>
          </p:nvPr>
        </p:nvSpPr>
        <p:spPr>
          <a:xfrm>
            <a:off x="5645688" y="2265438"/>
            <a:ext cx="2683690" cy="739594"/>
          </a:xfr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761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solidFill>
            <a:schemeClr val="accent3"/>
          </a:solidFill>
          <a:ln>
            <a:noFill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chemeClr val="accent5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chemeClr val="accent3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rgbClr val="5088C5"/>
          </a:solidFill>
          <a:ln>
            <a:solidFill>
              <a:schemeClr val="accent1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chemeClr val="tx2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chemeClr val="accent6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CDCDCD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chemeClr val="accent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5088C5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003C8C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bg1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22629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arallelogram 1"/>
          <p:cNvSpPr/>
          <p:nvPr userDrawn="1"/>
        </p:nvSpPr>
        <p:spPr>
          <a:xfrm>
            <a:off x="9253573" y="4681235"/>
            <a:ext cx="2523227" cy="13747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5" name="Chevron"/>
          <p:cNvSpPr/>
          <p:nvPr userDrawn="1"/>
        </p:nvSpPr>
        <p:spPr>
          <a:xfrm>
            <a:off x="3296446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6" name="Chevron"/>
          <p:cNvSpPr/>
          <p:nvPr userDrawn="1"/>
        </p:nvSpPr>
        <p:spPr>
          <a:xfrm>
            <a:off x="4761114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" name="Chevron"/>
          <p:cNvSpPr/>
          <p:nvPr userDrawn="1"/>
        </p:nvSpPr>
        <p:spPr>
          <a:xfrm>
            <a:off x="1831775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5088C5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8" name="Chevron"/>
          <p:cNvSpPr/>
          <p:nvPr userDrawn="1"/>
        </p:nvSpPr>
        <p:spPr>
          <a:xfrm>
            <a:off x="6225783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9" name="Chevron"/>
          <p:cNvSpPr/>
          <p:nvPr userDrawn="1"/>
        </p:nvSpPr>
        <p:spPr>
          <a:xfrm>
            <a:off x="7690449" y="3169896"/>
            <a:ext cx="1486817" cy="2880002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0" name="Parallelogram 1"/>
          <p:cNvSpPr/>
          <p:nvPr userDrawn="1"/>
        </p:nvSpPr>
        <p:spPr>
          <a:xfrm flipV="1">
            <a:off x="9253573" y="3166434"/>
            <a:ext cx="2523227" cy="1373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875" y="0"/>
                </a:lnTo>
                <a:lnTo>
                  <a:pt x="21600" y="0"/>
                </a:lnTo>
                <a:lnTo>
                  <a:pt x="17567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1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1" name="Chevron"/>
          <p:cNvSpPr/>
          <p:nvPr userDrawn="1"/>
        </p:nvSpPr>
        <p:spPr>
          <a:xfrm>
            <a:off x="379222" y="3169896"/>
            <a:ext cx="1486817" cy="2880004"/>
          </a:xfrm>
          <a:prstGeom prst="chevron">
            <a:avLst>
              <a:gd name="adj" fmla="val 10987"/>
            </a:avLst>
          </a:prstGeom>
          <a:noFill/>
          <a:ln>
            <a:solidFill>
              <a:schemeClr val="accent5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 sz="1200" b="1"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/>
          </a:p>
        </p:txBody>
      </p:sp>
      <p:sp>
        <p:nvSpPr>
          <p:cNvPr id="12" name="Straight Connector 33"/>
          <p:cNvSpPr/>
          <p:nvPr userDrawn="1"/>
        </p:nvSpPr>
        <p:spPr>
          <a:xfrm>
            <a:off x="1845229" y="2422328"/>
            <a:ext cx="419031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3" name="Oval 34"/>
          <p:cNvSpPr/>
          <p:nvPr userDrawn="1"/>
        </p:nvSpPr>
        <p:spPr>
          <a:xfrm>
            <a:off x="3897876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4" name="Straight Connector 35"/>
          <p:cNvSpPr/>
          <p:nvPr userDrawn="1"/>
        </p:nvSpPr>
        <p:spPr>
          <a:xfrm>
            <a:off x="6059935" y="2422328"/>
            <a:ext cx="2877808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5" name="Oval 36"/>
          <p:cNvSpPr/>
          <p:nvPr userDrawn="1"/>
        </p:nvSpPr>
        <p:spPr>
          <a:xfrm>
            <a:off x="7456325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6" name="Straight Connector 38"/>
          <p:cNvSpPr/>
          <p:nvPr userDrawn="1"/>
        </p:nvSpPr>
        <p:spPr>
          <a:xfrm>
            <a:off x="8978779" y="2422328"/>
            <a:ext cx="2677389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7" name="Oval 39"/>
          <p:cNvSpPr/>
          <p:nvPr userDrawn="1"/>
        </p:nvSpPr>
        <p:spPr>
          <a:xfrm>
            <a:off x="10274961" y="2382958"/>
            <a:ext cx="85027" cy="78743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18" name="Straight Connector 46"/>
          <p:cNvSpPr/>
          <p:nvPr userDrawn="1"/>
        </p:nvSpPr>
        <p:spPr>
          <a:xfrm>
            <a:off x="317621" y="2422328"/>
            <a:ext cx="1498156" cy="3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45718" tIns="45718" rIns="45718" bIns="45718"/>
          <a:lstStyle/>
          <a:p>
            <a:endParaRPr>
              <a:solidFill>
                <a:srgbClr val="FFFFFF"/>
              </a:solidFill>
            </a:endParaRPr>
          </a:p>
        </p:txBody>
      </p:sp>
      <p:sp>
        <p:nvSpPr>
          <p:cNvPr id="19" name="Oval 47"/>
          <p:cNvSpPr/>
          <p:nvPr userDrawn="1"/>
        </p:nvSpPr>
        <p:spPr>
          <a:xfrm>
            <a:off x="1056472" y="2381756"/>
            <a:ext cx="81147" cy="81147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02498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7204292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2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3645842" y="1650889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4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022927" y="1650888"/>
            <a:ext cx="589091" cy="589091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71" hasCustomPrompt="1"/>
          </p:nvPr>
        </p:nvSpPr>
        <p:spPr>
          <a:xfrm>
            <a:off x="339529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18287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6741322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9574596" y="2604678"/>
            <a:ext cx="1515030" cy="250855"/>
          </a:xfrm>
          <a:ln>
            <a:noFill/>
          </a:ln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>
                <a:solidFill>
                  <a:srgbClr val="FFFFFF"/>
                </a:solidFill>
              </a:defRPr>
            </a:lvl1pPr>
          </a:lstStyle>
          <a:p>
            <a:r>
              <a:rPr lang="pt-PT" err="1"/>
              <a:t>Text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6202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677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501005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473326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79366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9484205" y="3276607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9484205" y="4792268"/>
            <a:ext cx="1666534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2083501" y="4033556"/>
            <a:ext cx="1034786" cy="1152680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F4CF30"/>
                </a:solidFill>
              </a:defRPr>
            </a:lvl1pPr>
          </a:lstStyle>
          <a:p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40" name="Straight Connector 3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54468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9" y="2042788"/>
            <a:ext cx="2085830" cy="1066822"/>
          </a:xfrm>
          <a:blipFill>
            <a:blip r:embed="rId3"/>
            <a:srcRect/>
            <a:stretch>
              <a:fillRect r="-124962"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57612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&amp;Flows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traight Connector 31"/>
          <p:cNvSpPr/>
          <p:nvPr userDrawn="1"/>
        </p:nvSpPr>
        <p:spPr>
          <a:xfrm>
            <a:off x="1008754" y="5024244"/>
            <a:ext cx="10174492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6" name="Straight Connector 32"/>
          <p:cNvSpPr/>
          <p:nvPr userDrawn="1"/>
        </p:nvSpPr>
        <p:spPr>
          <a:xfrm>
            <a:off x="6095998" y="5026790"/>
            <a:ext cx="4" cy="311255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Freeform 34"/>
          <p:cNvSpPr/>
          <p:nvPr userDrawn="1"/>
        </p:nvSpPr>
        <p:spPr>
          <a:xfrm rot="1560000" flipV="1">
            <a:off x="175022" y="-2185516"/>
            <a:ext cx="11841832" cy="12396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1" h="21600" extrusionOk="0">
                <a:moveTo>
                  <a:pt x="0" y="0"/>
                </a:moveTo>
                <a:cubicBezTo>
                  <a:pt x="738" y="2936"/>
                  <a:pt x="1476" y="5873"/>
                  <a:pt x="4484" y="8266"/>
                </a:cubicBezTo>
                <a:cubicBezTo>
                  <a:pt x="7493" y="10659"/>
                  <a:pt x="15200" y="12137"/>
                  <a:pt x="18050" y="14360"/>
                </a:cubicBezTo>
                <a:cubicBezTo>
                  <a:pt x="20899" y="16582"/>
                  <a:pt x="21600" y="20142"/>
                  <a:pt x="21581" y="21600"/>
                </a:cubicBezTo>
              </a:path>
            </a:pathLst>
          </a:custGeom>
          <a:ln>
            <a:solidFill>
              <a:srgbClr val="FFFFFF"/>
            </a:solidFill>
            <a:prstDash val="sysDash"/>
            <a:tailEnd type="stealth"/>
          </a:ln>
        </p:spPr>
        <p:txBody>
          <a:bodyPr lIns="45718" tIns="45718" rIns="45718" bIns="45718" anchor="ctr"/>
          <a:lstStyle/>
          <a:p>
            <a:pPr algn="ctr">
              <a:defRPr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traight Connector 100"/>
          <p:cNvSpPr/>
          <p:nvPr userDrawn="1"/>
        </p:nvSpPr>
        <p:spPr>
          <a:xfrm>
            <a:off x="996278" y="2940359"/>
            <a:ext cx="1381657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Straight Connector 101"/>
          <p:cNvSpPr/>
          <p:nvPr userDrawn="1"/>
        </p:nvSpPr>
        <p:spPr>
          <a:xfrm flipV="1">
            <a:off x="1687103" y="2642815"/>
            <a:ext cx="5" cy="292131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Straight Connector 103"/>
          <p:cNvSpPr/>
          <p:nvPr userDrawn="1"/>
        </p:nvSpPr>
        <p:spPr>
          <a:xfrm>
            <a:off x="3187245" y="2930457"/>
            <a:ext cx="3657009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" name="Straight Connector 104"/>
          <p:cNvSpPr/>
          <p:nvPr userDrawn="1"/>
        </p:nvSpPr>
        <p:spPr>
          <a:xfrm flipV="1">
            <a:off x="5004460" y="2629746"/>
            <a:ext cx="3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1" name="Straight Connector 106"/>
          <p:cNvSpPr/>
          <p:nvPr userDrawn="1"/>
        </p:nvSpPr>
        <p:spPr>
          <a:xfrm>
            <a:off x="8557204" y="2939089"/>
            <a:ext cx="2739086" cy="3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Rounded Rectangle 44"/>
          <p:cNvSpPr/>
          <p:nvPr/>
        </p:nvSpPr>
        <p:spPr>
          <a:xfrm>
            <a:off x="3160509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4" name="Rounded Rectangle 38"/>
          <p:cNvSpPr/>
          <p:nvPr userDrawn="1"/>
        </p:nvSpPr>
        <p:spPr>
          <a:xfrm>
            <a:off x="1176901" y="3250217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71" name="Rounded Rectangle 95"/>
          <p:cNvSpPr/>
          <p:nvPr/>
        </p:nvSpPr>
        <p:spPr>
          <a:xfrm>
            <a:off x="4500507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31" name="Rounded Rectangle 62"/>
          <p:cNvSpPr/>
          <p:nvPr/>
        </p:nvSpPr>
        <p:spPr>
          <a:xfrm>
            <a:off x="8557204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5" name="Rounded Rectangle 35"/>
          <p:cNvSpPr/>
          <p:nvPr/>
        </p:nvSpPr>
        <p:spPr>
          <a:xfrm>
            <a:off x="9881206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59" name="Rounded Rectangle 88"/>
          <p:cNvSpPr/>
          <p:nvPr userDrawn="1"/>
        </p:nvSpPr>
        <p:spPr>
          <a:xfrm>
            <a:off x="5840505" y="3248582"/>
            <a:ext cx="1081861" cy="1081900"/>
          </a:xfrm>
          <a:prstGeom prst="ellipse">
            <a:avLst/>
          </a:prstGeom>
          <a:solidFill>
            <a:srgbClr val="183A66"/>
          </a:solidFill>
          <a:ln w="9525" cap="flat">
            <a:solidFill>
              <a:srgbClr val="F4CF30"/>
            </a:solidFill>
            <a:prstDash val="solid"/>
            <a:miter lim="800000"/>
          </a:ln>
          <a:effectLst/>
        </p:spPr>
        <p:txBody>
          <a:bodyPr wrap="square" lIns="45718" tIns="45718" rIns="45718" bIns="45718" numCol="1" anchor="b">
            <a:noAutofit/>
          </a:bodyPr>
          <a:lstStyle/>
          <a:p>
            <a:pPr algn="ctr" defTabSz="1219168">
              <a:lnSpc>
                <a:spcPct val="105999"/>
              </a:lnSpc>
              <a:defRPr sz="1200">
                <a:solidFill>
                  <a:srgbClr val="53565A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90" name="Straight Connector 101"/>
          <p:cNvSpPr/>
          <p:nvPr userDrawn="1"/>
        </p:nvSpPr>
        <p:spPr>
          <a:xfrm flipV="1">
            <a:off x="9923171" y="2629746"/>
            <a:ext cx="5" cy="292130"/>
          </a:xfrm>
          <a:prstGeom prst="line">
            <a:avLst/>
          </a:prstGeom>
          <a:ln>
            <a:solidFill>
              <a:srgbClr val="5088C5">
                <a:alpha val="49804"/>
              </a:srgbClr>
            </a:solidFill>
            <a:prstDash val="sys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92" name="Text Placeholder 4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193" name="Text Placeholder 29"/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4854779" y="5360082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4" name="Text Placeholder 29"/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4859786" y="5635473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5" name="Text Placeholder 29"/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430628" y="168171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6" name="Text Placeholder 29"/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35635" y="195710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7" name="Text Placeholder 29"/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3756325" y="1682423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98" name="Text Placeholder 29"/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3761332" y="1957814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199" name="Text Placeholder 29"/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8670609" y="1681976"/>
            <a:ext cx="2506683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200" name="Text Placeholder 29"/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8675616" y="1957367"/>
            <a:ext cx="2506683" cy="597650"/>
          </a:xfrm>
        </p:spPr>
        <p:txBody>
          <a:bodyPr>
            <a:noAutofit/>
          </a:bodyPr>
          <a:lstStyle>
            <a:lvl1pPr marL="0" marR="0" indent="0" algn="ctr" defTabSz="1219168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rgbClr val="FFFFFF"/>
                </a:solidFill>
                <a:latin typeface="Verdana"/>
                <a:ea typeface="Verdana"/>
                <a:sym typeface="Verdana"/>
              </a:defRPr>
            </a:lvl1pPr>
          </a:lstStyle>
          <a:p>
            <a:pPr algn="ctr" defTabSz="1219168">
              <a:spcBef>
                <a:spcPts val="600"/>
              </a:spcBef>
              <a:defRPr sz="10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pt-PT" err="1"/>
              <a:t>Sed</a:t>
            </a:r>
            <a:r>
              <a:rPr lang="pt-PT"/>
              <a:t> ut </a:t>
            </a:r>
            <a:r>
              <a:rPr lang="pt-PT" err="1"/>
              <a:t>perspiciatis</a:t>
            </a:r>
            <a:r>
              <a:rPr lang="pt-PT"/>
              <a:t> </a:t>
            </a:r>
            <a:r>
              <a:rPr lang="pt-PT" err="1"/>
              <a:t>unde</a:t>
            </a:r>
            <a:r>
              <a:rPr lang="pt-PT"/>
              <a:t> </a:t>
            </a:r>
            <a:r>
              <a:rPr lang="pt-PT" err="1"/>
              <a:t>omnis</a:t>
            </a:r>
            <a:r>
              <a:rPr lang="pt-PT"/>
              <a:t> </a:t>
            </a:r>
            <a:r>
              <a:rPr lang="pt-PT" err="1"/>
              <a:t>iste</a:t>
            </a:r>
            <a:r>
              <a:rPr lang="pt-PT"/>
              <a:t> </a:t>
            </a:r>
            <a:r>
              <a:rPr lang="pt-PT" err="1"/>
              <a:t>natus</a:t>
            </a:r>
            <a:r>
              <a:rPr lang="pt-PT"/>
              <a:t> error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voluptatem</a:t>
            </a:r>
            <a:r>
              <a:rPr lang="pt-PT"/>
              <a:t> </a:t>
            </a:r>
            <a:r>
              <a:rPr lang="pt-PT" err="1"/>
              <a:t>accusantium</a:t>
            </a:r>
            <a:r>
              <a:rPr lang="pt-PT"/>
              <a:t> </a:t>
            </a:r>
            <a:r>
              <a:rPr lang="pt-PT" err="1"/>
              <a:t>doloremque</a:t>
            </a:r>
            <a:r>
              <a:rPr lang="pt-PT"/>
              <a:t> </a:t>
            </a:r>
            <a:r>
              <a:rPr lang="pt-PT" err="1"/>
              <a:t>laudantium</a:t>
            </a:r>
            <a:r>
              <a:rPr lang="pt-PT"/>
              <a:t>, </a:t>
            </a:r>
            <a:r>
              <a:rPr lang="pt-PT" err="1"/>
              <a:t>totam</a:t>
            </a:r>
            <a:r>
              <a:rPr lang="pt-PT"/>
              <a:t> rem </a:t>
            </a:r>
            <a:r>
              <a:rPr lang="pt-PT" err="1"/>
              <a:t>aperiam</a:t>
            </a:r>
            <a:r>
              <a:rPr lang="pt-PT"/>
              <a:t>.</a:t>
            </a:r>
          </a:p>
        </p:txBody>
      </p:sp>
      <p:sp>
        <p:nvSpPr>
          <p:cNvPr id="201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32578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2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3309399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3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4649397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4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5991635" y="339899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5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8706094" y="3397459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6" name="Text Placeholder 12"/>
          <p:cNvSpPr>
            <a:spLocks noGrp="1" noChangeAspect="1"/>
          </p:cNvSpPr>
          <p:nvPr>
            <p:ph type="body" sz="quarter" idx="78" hasCustomPrompt="1"/>
          </p:nvPr>
        </p:nvSpPr>
        <p:spPr>
          <a:xfrm>
            <a:off x="10030095" y="3394000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13313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0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3116746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0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4437255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1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5796742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2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513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13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837441" y="4553632"/>
            <a:ext cx="1169386" cy="269553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42" name="Straight Connector 41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51622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181725" y="0"/>
            <a:ext cx="6010275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5019675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5018917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grpSp>
        <p:nvGrpSpPr>
          <p:cNvPr id="8" name="Group 24"/>
          <p:cNvGrpSpPr/>
          <p:nvPr userDrawn="1"/>
        </p:nvGrpSpPr>
        <p:grpSpPr>
          <a:xfrm>
            <a:off x="8538995" y="2902672"/>
            <a:ext cx="1350481" cy="203205"/>
            <a:chOff x="-1" y="0"/>
            <a:chExt cx="1350479" cy="203203"/>
          </a:xfrm>
        </p:grpSpPr>
        <p:sp>
          <p:nvSpPr>
            <p:cNvPr id="9" name="Oval 15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0" name="Oval 16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1" name="Oval 17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2" name="Oval 12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3" name="Oval 13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4" name="Oval 14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5" name="Oval 23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grpSp>
        <p:nvGrpSpPr>
          <p:cNvPr id="16" name="Group 29"/>
          <p:cNvGrpSpPr/>
          <p:nvPr userDrawn="1"/>
        </p:nvGrpSpPr>
        <p:grpSpPr>
          <a:xfrm>
            <a:off x="8538995" y="5984496"/>
            <a:ext cx="1350481" cy="203205"/>
            <a:chOff x="-1" y="0"/>
            <a:chExt cx="1350479" cy="203203"/>
          </a:xfrm>
        </p:grpSpPr>
        <p:sp>
          <p:nvSpPr>
            <p:cNvPr id="17" name="Oval 30"/>
            <p:cNvSpPr/>
            <p:nvPr/>
          </p:nvSpPr>
          <p:spPr>
            <a:xfrm>
              <a:off x="573635" y="-1"/>
              <a:ext cx="203205" cy="20320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8" name="Oval 31"/>
            <p:cNvSpPr/>
            <p:nvPr/>
          </p:nvSpPr>
          <p:spPr>
            <a:xfrm rot="10800000" flipH="1">
              <a:off x="863396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19" name="Oval 32"/>
            <p:cNvSpPr/>
            <p:nvPr/>
          </p:nvSpPr>
          <p:spPr>
            <a:xfrm rot="10800000" flipH="1">
              <a:off x="354995" y="35557"/>
              <a:ext cx="132085" cy="13208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0" name="Oval 33"/>
            <p:cNvSpPr/>
            <p:nvPr/>
          </p:nvSpPr>
          <p:spPr>
            <a:xfrm rot="10800000" flipH="1">
              <a:off x="1082036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1" name="Oval 34"/>
            <p:cNvSpPr/>
            <p:nvPr/>
          </p:nvSpPr>
          <p:spPr>
            <a:xfrm rot="10800000" flipH="1">
              <a:off x="161450" y="48105"/>
              <a:ext cx="106991" cy="106991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2" name="Oval 35"/>
            <p:cNvSpPr/>
            <p:nvPr/>
          </p:nvSpPr>
          <p:spPr>
            <a:xfrm rot="10800000" flipH="1">
              <a:off x="1275584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  <p:sp>
          <p:nvSpPr>
            <p:cNvPr id="23" name="Oval 36"/>
            <p:cNvSpPr/>
            <p:nvPr/>
          </p:nvSpPr>
          <p:spPr>
            <a:xfrm rot="10800000" flipH="1">
              <a:off x="-2" y="64153"/>
              <a:ext cx="74895" cy="74895"/>
            </a:xfrm>
            <a:prstGeom prst="ellipse">
              <a:avLst/>
            </a:prstGeom>
            <a:solidFill>
              <a:srgbClr val="EFC93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defTabSz="1375467">
                <a:defRPr sz="2600">
                  <a:solidFill>
                    <a:srgbClr val="999999"/>
                  </a:solidFill>
                  <a:latin typeface="EC Square Sans Pro"/>
                  <a:ea typeface="EC Square Sans Pro"/>
                  <a:cs typeface="EC Square Sans Pro"/>
                  <a:sym typeface="EC Square Sans Pro"/>
                </a:defRPr>
              </a:pPr>
              <a:endParaRPr/>
            </a:p>
          </p:txBody>
        </p:sp>
      </p:grpSp>
      <p:sp>
        <p:nvSpPr>
          <p:cNvPr id="25" name="Text Placeholder 29"/>
          <p:cNvSpPr>
            <a:spLocks noGrp="1"/>
          </p:cNvSpPr>
          <p:nvPr>
            <p:ph type="body" sz="quarter" idx="54" hasCustomPrompt="1"/>
          </p:nvPr>
        </p:nvSpPr>
        <p:spPr>
          <a:xfrm>
            <a:off x="7697689" y="2498701"/>
            <a:ext cx="3033086" cy="269553"/>
          </a:xfrm>
        </p:spPr>
        <p:txBody>
          <a:bodyPr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76" hasCustomPrompt="1"/>
          </p:nvPr>
        </p:nvSpPr>
        <p:spPr>
          <a:xfrm>
            <a:off x="7195712" y="3240290"/>
            <a:ext cx="4037039" cy="192854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</a:t>
            </a:r>
            <a:r>
              <a:rPr lang="it-IT"/>
              <a:t>sse cillum dolore eu fugiat nulla pariatur.</a:t>
            </a:r>
          </a:p>
          <a:p>
            <a:pPr lvl="0"/>
            <a:endParaRPr lang="pt-PT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77" hasCustomPrompt="1"/>
          </p:nvPr>
        </p:nvSpPr>
        <p:spPr>
          <a:xfrm>
            <a:off x="7176772" y="5264891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:</a:t>
            </a:r>
            <a:endParaRPr lang="it-IT"/>
          </a:p>
          <a:p>
            <a:pPr lvl="0"/>
            <a:endParaRPr lang="pt-PT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78" hasCustomPrompt="1"/>
          </p:nvPr>
        </p:nvSpPr>
        <p:spPr>
          <a:xfrm>
            <a:off x="7176771" y="5553799"/>
            <a:ext cx="4037039" cy="270488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emailname@domain.com</a:t>
            </a:r>
            <a:endParaRPr lang="it-IT"/>
          </a:p>
          <a:p>
            <a:pPr lvl="0"/>
            <a:endParaRPr lang="pt-PT"/>
          </a:p>
        </p:txBody>
      </p:sp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Picture Placeholder 12"/>
          <p:cNvSpPr>
            <a:spLocks noGrp="1" noChangeAspect="1"/>
          </p:cNvSpPr>
          <p:nvPr>
            <p:ph type="pic" sz="quarter" idx="82" hasCustomPrompt="1"/>
          </p:nvPr>
        </p:nvSpPr>
        <p:spPr>
          <a:xfrm>
            <a:off x="8442192" y="746310"/>
            <a:ext cx="1544077" cy="1544077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cxnSp>
        <p:nvCxnSpPr>
          <p:cNvPr id="34" name="Straight Connector 3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144963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2513996"/>
            <a:ext cx="697484" cy="67252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80" hasCustomPrompt="1"/>
          </p:nvPr>
        </p:nvSpPr>
        <p:spPr>
          <a:xfrm>
            <a:off x="838200" y="1878329"/>
            <a:ext cx="3314700" cy="360362"/>
          </a:xfr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1" y="2793776"/>
            <a:ext cx="3314700" cy="10858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Curabitur</a:t>
            </a:r>
            <a:r>
              <a:rPr lang="pt-PT"/>
              <a:t> </a:t>
            </a:r>
            <a:r>
              <a:rPr lang="pt-PT" err="1"/>
              <a:t>vel</a:t>
            </a:r>
            <a:r>
              <a:rPr lang="pt-PT"/>
              <a:t> </a:t>
            </a:r>
            <a:r>
              <a:rPr lang="pt-PT" err="1"/>
              <a:t>tincidunt</a:t>
            </a:r>
            <a:r>
              <a:rPr lang="pt-PT"/>
              <a:t> odio. </a:t>
            </a:r>
            <a:r>
              <a:rPr lang="pt-PT" err="1"/>
              <a:t>Integer</a:t>
            </a:r>
            <a:r>
              <a:rPr lang="pt-PT"/>
              <a:t> </a:t>
            </a:r>
            <a:r>
              <a:rPr lang="pt-PT" err="1"/>
              <a:t>volutpat</a:t>
            </a:r>
            <a:r>
              <a:rPr lang="pt-PT"/>
              <a:t> </a:t>
            </a:r>
            <a:r>
              <a:rPr lang="pt-PT" err="1"/>
              <a:t>tempus</a:t>
            </a:r>
            <a:r>
              <a:rPr lang="pt-PT"/>
              <a:t> </a:t>
            </a:r>
            <a:r>
              <a:rPr lang="pt-PT" err="1"/>
              <a:t>nunc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</a:t>
            </a:r>
            <a:r>
              <a:rPr lang="pt-PT" err="1"/>
              <a:t>molesti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</a:t>
            </a:r>
            <a:r>
              <a:rPr lang="pt-PT" err="1"/>
              <a:t>pellentesque</a:t>
            </a:r>
            <a:r>
              <a:rPr lang="pt-PT"/>
              <a:t> eu. </a:t>
            </a:r>
            <a:r>
              <a:rPr lang="pt-PT" err="1"/>
              <a:t>Praesent</a:t>
            </a:r>
            <a:r>
              <a:rPr lang="pt-PT"/>
              <a:t> </a:t>
            </a:r>
            <a:r>
              <a:rPr lang="pt-PT" err="1"/>
              <a:t>dapibus</a:t>
            </a:r>
            <a:r>
              <a:rPr lang="pt-PT"/>
              <a:t> </a:t>
            </a:r>
            <a:r>
              <a:rPr lang="pt-PT" err="1"/>
              <a:t>enim</a:t>
            </a:r>
            <a:r>
              <a:rPr lang="pt-PT"/>
              <a:t> </a:t>
            </a:r>
            <a:r>
              <a:rPr lang="pt-PT" err="1"/>
              <a:t>turpis</a:t>
            </a:r>
            <a:r>
              <a:rPr lang="pt-PT"/>
              <a:t>. 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4427803" y="3076575"/>
            <a:ext cx="3336395" cy="378142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9277561" y="2513996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9277561" y="2244443"/>
            <a:ext cx="2506683" cy="269553"/>
          </a:xfrm>
        </p:spPr>
        <p:txBody>
          <a:bodyPr>
            <a:noAutofit/>
          </a:bodyPr>
          <a:lstStyle>
            <a:lvl1pPr marL="0" indent="0" algn="l">
              <a:buNone/>
              <a:defRPr sz="14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0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7891378" y="1943200"/>
            <a:ext cx="1276096" cy="1276096"/>
          </a:xfrm>
          <a:prstGeom prst="ellipse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07819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778407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24450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43075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905376" y="1743075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4905376" y="2052424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4905376" y="33718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4905376" y="36811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4905376" y="5048250"/>
            <a:ext cx="6448424" cy="309348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4905376" y="5357599"/>
            <a:ext cx="6448424" cy="8050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5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1325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1232164" y="4826032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1232163" y="5172075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232163" y="1790700"/>
            <a:ext cx="3336395" cy="2876355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4"/>
            <a:ext cx="10515600" cy="3564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322755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322755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8715376" y="2819398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8715376" y="3128747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5322755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5322755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715376" y="5129106"/>
            <a:ext cx="2638424" cy="309348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715376" y="5438455"/>
            <a:ext cx="2638424" cy="7269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</a:t>
            </a:r>
          </a:p>
        </p:txBody>
      </p:sp>
      <p:sp>
        <p:nvSpPr>
          <p:cNvPr id="15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6210723" y="1785808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6" name="Text Placeholder 12"/>
          <p:cNvSpPr>
            <a:spLocks noGrp="1" noChangeAspect="1"/>
          </p:cNvSpPr>
          <p:nvPr>
            <p:ph type="body" sz="quarter" idx="88" hasCustomPrompt="1"/>
          </p:nvPr>
        </p:nvSpPr>
        <p:spPr>
          <a:xfrm>
            <a:off x="6210723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7" name="Text Placeholder 12"/>
          <p:cNvSpPr>
            <a:spLocks noGrp="1" noChangeAspect="1"/>
          </p:cNvSpPr>
          <p:nvPr>
            <p:ph type="body" sz="quarter" idx="89" hasCustomPrompt="1"/>
          </p:nvPr>
        </p:nvSpPr>
        <p:spPr>
          <a:xfrm>
            <a:off x="9603344" y="4124033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9603344" y="1794787"/>
            <a:ext cx="862488" cy="862488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437401" y="6224481"/>
            <a:ext cx="637374" cy="36512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5286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9"/>
          <p:cNvSpPr>
            <a:spLocks noGrp="1"/>
          </p:cNvSpPr>
          <p:nvPr>
            <p:ph type="body" sz="quarter" idx="81" hasCustomPrompt="1"/>
          </p:nvPr>
        </p:nvSpPr>
        <p:spPr>
          <a:xfrm>
            <a:off x="1885950" y="1738884"/>
            <a:ext cx="2506683" cy="2377153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illustration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22532" y="4116037"/>
            <a:ext cx="12437065" cy="1999253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5"/>
            </a:solidFill>
          </a:ln>
        </p:spPr>
        <p:txBody>
          <a:bodyPr lIns="45718" tIns="45718" rIns="45718" bIns="45718" anchor="ctr"/>
          <a:lstStyle/>
          <a:p>
            <a:pPr algn="r">
              <a:defRPr>
                <a:solidFill>
                  <a:srgbClr val="FFFFFF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pPr>
            <a:endParaRPr sz="1200"/>
          </a:p>
        </p:txBody>
      </p:sp>
      <p:sp>
        <p:nvSpPr>
          <p:cNvPr id="8" name="Text Placeholder 29"/>
          <p:cNvSpPr>
            <a:spLocks noGrp="1"/>
          </p:cNvSpPr>
          <p:nvPr>
            <p:ph type="body" sz="quarter" idx="79" hasCustomPrompt="1"/>
          </p:nvPr>
        </p:nvSpPr>
        <p:spPr>
          <a:xfrm>
            <a:off x="6161510" y="2455264"/>
            <a:ext cx="3336395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Building</a:t>
            </a:r>
            <a:r>
              <a:rPr lang="pt-PT"/>
              <a:t> </a:t>
            </a:r>
            <a:r>
              <a:rPr lang="pt-PT" err="1"/>
              <a:t>Block</a:t>
            </a:r>
            <a:r>
              <a:rPr lang="pt-PT"/>
              <a:t> </a:t>
            </a:r>
            <a:r>
              <a:rPr lang="pt-PT" err="1"/>
              <a:t>name</a:t>
            </a:r>
            <a:endParaRPr lang="pt-PT"/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80" hasCustomPrompt="1"/>
          </p:nvPr>
        </p:nvSpPr>
        <p:spPr>
          <a:xfrm>
            <a:off x="6161509" y="2744157"/>
            <a:ext cx="3336395" cy="11286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82" hasCustomPrompt="1"/>
          </p:nvPr>
        </p:nvSpPr>
        <p:spPr>
          <a:xfrm>
            <a:off x="839789" y="505925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83" hasCustomPrompt="1"/>
          </p:nvPr>
        </p:nvSpPr>
        <p:spPr>
          <a:xfrm>
            <a:off x="839788" y="534814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84" hasCustomPrompt="1"/>
          </p:nvPr>
        </p:nvSpPr>
        <p:spPr>
          <a:xfrm>
            <a:off x="3506789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85" hasCustomPrompt="1"/>
          </p:nvPr>
        </p:nvSpPr>
        <p:spPr>
          <a:xfrm>
            <a:off x="3506788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86" hasCustomPrompt="1"/>
          </p:nvPr>
        </p:nvSpPr>
        <p:spPr>
          <a:xfrm>
            <a:off x="6175375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87" hasCustomPrompt="1"/>
          </p:nvPr>
        </p:nvSpPr>
        <p:spPr>
          <a:xfrm>
            <a:off x="6175374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6" name="Text Placeholder 29"/>
          <p:cNvSpPr>
            <a:spLocks noGrp="1"/>
          </p:cNvSpPr>
          <p:nvPr>
            <p:ph type="body" sz="quarter" idx="88" hasCustomPrompt="1"/>
          </p:nvPr>
        </p:nvSpPr>
        <p:spPr>
          <a:xfrm>
            <a:off x="8839196" y="5040201"/>
            <a:ext cx="2506683" cy="26984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Text</a:t>
            </a:r>
            <a:endParaRPr lang="pt-PT"/>
          </a:p>
        </p:txBody>
      </p:sp>
      <p:sp>
        <p:nvSpPr>
          <p:cNvPr id="17" name="Text Placeholder 29"/>
          <p:cNvSpPr>
            <a:spLocks noGrp="1"/>
          </p:cNvSpPr>
          <p:nvPr>
            <p:ph type="body" sz="quarter" idx="89" hasCustomPrompt="1"/>
          </p:nvPr>
        </p:nvSpPr>
        <p:spPr>
          <a:xfrm>
            <a:off x="8839195" y="5329094"/>
            <a:ext cx="2506683" cy="61959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</a:t>
            </a:r>
          </a:p>
        </p:txBody>
      </p:sp>
      <p:sp>
        <p:nvSpPr>
          <p:cNvPr id="18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1736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19" name="Text Placeholder 12"/>
          <p:cNvSpPr>
            <a:spLocks noGrp="1" noChangeAspect="1"/>
          </p:cNvSpPr>
          <p:nvPr>
            <p:ph type="body" sz="quarter" idx="90" hasCustomPrompt="1"/>
          </p:nvPr>
        </p:nvSpPr>
        <p:spPr>
          <a:xfrm>
            <a:off x="4403729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0" name="Text Placeholder 12"/>
          <p:cNvSpPr>
            <a:spLocks noGrp="1" noChangeAspect="1"/>
          </p:cNvSpPr>
          <p:nvPr>
            <p:ph type="body" sz="quarter" idx="91" hasCustomPrompt="1"/>
          </p:nvPr>
        </p:nvSpPr>
        <p:spPr>
          <a:xfrm>
            <a:off x="7066910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1" name="Text Placeholder 12"/>
          <p:cNvSpPr>
            <a:spLocks noGrp="1" noChangeAspect="1"/>
          </p:cNvSpPr>
          <p:nvPr>
            <p:ph type="body" sz="quarter" idx="92" hasCustomPrompt="1"/>
          </p:nvPr>
        </p:nvSpPr>
        <p:spPr>
          <a:xfrm>
            <a:off x="9736136" y="4248823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44874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B&amp;Mockups Slide 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71550" y="1771650"/>
            <a:ext cx="4086225" cy="21145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837104" y="2259656"/>
            <a:ext cx="5516695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5837104" y="2628900"/>
            <a:ext cx="5516695" cy="952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17827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4" name="Text Placeholder 25"/>
          <p:cNvSpPr>
            <a:spLocks noGrp="1"/>
          </p:cNvSpPr>
          <p:nvPr>
            <p:ph type="body" sz="quarter" idx="45" hasCustomPrompt="1"/>
          </p:nvPr>
        </p:nvSpPr>
        <p:spPr>
          <a:xfrm>
            <a:off x="17827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46" hasCustomPrompt="1"/>
          </p:nvPr>
        </p:nvSpPr>
        <p:spPr>
          <a:xfrm>
            <a:off x="570706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0" name="Text Placeholder 25"/>
          <p:cNvSpPr>
            <a:spLocks noGrp="1"/>
          </p:cNvSpPr>
          <p:nvPr>
            <p:ph type="body" sz="quarter" idx="47" hasCustomPrompt="1"/>
          </p:nvPr>
        </p:nvSpPr>
        <p:spPr>
          <a:xfrm>
            <a:off x="570706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1" name="Text Placeholder 25"/>
          <p:cNvSpPr>
            <a:spLocks noGrp="1"/>
          </p:cNvSpPr>
          <p:nvPr>
            <p:ph type="body" sz="quarter" idx="48" hasCustomPrompt="1"/>
          </p:nvPr>
        </p:nvSpPr>
        <p:spPr>
          <a:xfrm>
            <a:off x="9574213" y="5192858"/>
            <a:ext cx="2293937" cy="302475"/>
          </a:xfrm>
        </p:spPr>
        <p:txBody>
          <a:bodyPr>
            <a:noAutofit/>
          </a:bodyPr>
          <a:lstStyle>
            <a:lvl1pPr marL="0" indent="0" algn="l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52" name="Text Placeholder 25"/>
          <p:cNvSpPr>
            <a:spLocks noGrp="1"/>
          </p:cNvSpPr>
          <p:nvPr>
            <p:ph type="body" sz="quarter" idx="49" hasCustomPrompt="1"/>
          </p:nvPr>
        </p:nvSpPr>
        <p:spPr>
          <a:xfrm>
            <a:off x="9574213" y="5501767"/>
            <a:ext cx="2293937" cy="58470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. </a:t>
            </a:r>
          </a:p>
        </p:txBody>
      </p:sp>
      <p:sp>
        <p:nvSpPr>
          <p:cNvPr id="53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877404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4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4790117" y="523206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5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8665204" y="5225712"/>
            <a:ext cx="784080" cy="78408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5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1641983"/>
            <a:ext cx="4322439" cy="3176291"/>
          </a:xfrm>
          <a:prstGeom prst="rect">
            <a:avLst/>
          </a:prstGeom>
        </p:spPr>
      </p:pic>
      <p:sp>
        <p:nvSpPr>
          <p:cNvPr id="22" name="Text Placeholder 25"/>
          <p:cNvSpPr>
            <a:spLocks noGrp="1"/>
          </p:cNvSpPr>
          <p:nvPr>
            <p:ph type="body" sz="quarter" idx="76" hasCustomPrompt="1"/>
          </p:nvPr>
        </p:nvSpPr>
        <p:spPr>
          <a:xfrm>
            <a:off x="1852450" y="2536571"/>
            <a:ext cx="229393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4" name="Straight Connector 23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39316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4514850"/>
            <a:ext cx="12192000" cy="2343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917211" y="2010935"/>
            <a:ext cx="2186149" cy="4046965"/>
          </a:xfrm>
          <a:prstGeom prst="roundRect">
            <a:avLst>
              <a:gd name="adj" fmla="val 109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760654" y="1897499"/>
            <a:ext cx="7593146" cy="365995"/>
          </a:xfrm>
        </p:spPr>
        <p:txBody>
          <a:bodyPr>
            <a:noAutofit/>
          </a:bodyPr>
          <a:lstStyle>
            <a:lvl1pPr marL="0" indent="0" algn="l">
              <a:buNone/>
              <a:defRPr sz="18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4" hasCustomPrompt="1"/>
          </p:nvPr>
        </p:nvSpPr>
        <p:spPr>
          <a:xfrm>
            <a:off x="3760654" y="2269189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27" name="Text Placeholder 12"/>
          <p:cNvSpPr>
            <a:spLocks noGrp="1" noChangeAspect="1"/>
          </p:cNvSpPr>
          <p:nvPr>
            <p:ph type="body" sz="quarter" idx="73" hasCustomPrompt="1"/>
          </p:nvPr>
        </p:nvSpPr>
        <p:spPr>
          <a:xfrm>
            <a:off x="3835498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8" name="Text Placeholder 12"/>
          <p:cNvSpPr>
            <a:spLocks noGrp="1" noChangeAspect="1"/>
          </p:cNvSpPr>
          <p:nvPr>
            <p:ph type="body" sz="quarter" idx="74" hasCustomPrompt="1"/>
          </p:nvPr>
        </p:nvSpPr>
        <p:spPr>
          <a:xfrm>
            <a:off x="5519042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29" name="Text Placeholder 12"/>
          <p:cNvSpPr>
            <a:spLocks noGrp="1" noChangeAspect="1"/>
          </p:cNvSpPr>
          <p:nvPr>
            <p:ph type="body" sz="quarter" idx="75" hasCustomPrompt="1"/>
          </p:nvPr>
        </p:nvSpPr>
        <p:spPr>
          <a:xfrm>
            <a:off x="7202586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0" name="Text Placeholder 12"/>
          <p:cNvSpPr>
            <a:spLocks noGrp="1" noChangeAspect="1"/>
          </p:cNvSpPr>
          <p:nvPr>
            <p:ph type="body" sz="quarter" idx="76" hasCustomPrompt="1"/>
          </p:nvPr>
        </p:nvSpPr>
        <p:spPr>
          <a:xfrm>
            <a:off x="8886130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1" name="Text Placeholder 12"/>
          <p:cNvSpPr>
            <a:spLocks noGrp="1" noChangeAspect="1"/>
          </p:cNvSpPr>
          <p:nvPr>
            <p:ph type="body" sz="quarter" idx="77" hasCustomPrompt="1"/>
          </p:nvPr>
        </p:nvSpPr>
        <p:spPr>
          <a:xfrm>
            <a:off x="10569673" y="3322869"/>
            <a:ext cx="712800" cy="712800"/>
          </a:xfrm>
          <a:prstGeom prst="ellipse">
            <a:avLst/>
          </a:prstGeom>
          <a:noFill/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Icon here</a:t>
            </a:r>
            <a:endParaRPr lang="pt-PT"/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3571127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5254671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6938215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621759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10305302" y="4194364"/>
            <a:ext cx="1241541" cy="274977"/>
          </a:xfrm>
        </p:spPr>
        <p:txBody>
          <a:bodyPr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ext</a:t>
            </a:r>
            <a:endParaRPr lang="pt-PT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881009" y="4937398"/>
            <a:ext cx="7593146" cy="86453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4"/>
                </a:solidFill>
              </a:defRPr>
            </a:lvl1pPr>
          </a:lstStyle>
          <a:p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 Ut </a:t>
            </a:r>
            <a:r>
              <a:rPr lang="pt-PT" err="1"/>
              <a:t>enim</a:t>
            </a:r>
            <a:r>
              <a:rPr lang="pt-PT"/>
              <a:t> ad </a:t>
            </a:r>
            <a:r>
              <a:rPr lang="pt-PT" err="1"/>
              <a:t>minim</a:t>
            </a:r>
            <a:r>
              <a:rPr lang="pt-PT"/>
              <a:t> </a:t>
            </a:r>
            <a:r>
              <a:rPr lang="pt-PT" err="1"/>
              <a:t>veniam</a:t>
            </a:r>
            <a:r>
              <a:rPr lang="pt-PT"/>
              <a:t>, quis </a:t>
            </a:r>
            <a:r>
              <a:rPr lang="pt-PT" err="1"/>
              <a:t>nostrud</a:t>
            </a:r>
            <a:r>
              <a:rPr lang="pt-PT"/>
              <a:t> </a:t>
            </a:r>
            <a:r>
              <a:rPr lang="pt-PT" err="1"/>
              <a:t>exercitation</a:t>
            </a:r>
            <a:r>
              <a:rPr lang="pt-PT"/>
              <a:t> </a:t>
            </a:r>
            <a:r>
              <a:rPr lang="pt-PT" err="1"/>
              <a:t>ullamco</a:t>
            </a:r>
            <a:r>
              <a:rPr lang="pt-PT"/>
              <a:t> </a:t>
            </a:r>
            <a:r>
              <a:rPr lang="pt-PT" err="1"/>
              <a:t>laboris</a:t>
            </a:r>
            <a:r>
              <a:rPr lang="pt-PT"/>
              <a:t> </a:t>
            </a:r>
            <a:r>
              <a:rPr lang="pt-PT" err="1"/>
              <a:t>nisi</a:t>
            </a:r>
            <a:r>
              <a:rPr lang="pt-PT"/>
              <a:t> ut </a:t>
            </a:r>
            <a:r>
              <a:rPr lang="pt-PT" err="1"/>
              <a:t>aliquip</a:t>
            </a:r>
            <a:r>
              <a:rPr lang="pt-PT"/>
              <a:t> </a:t>
            </a:r>
            <a:r>
              <a:rPr lang="pt-PT" err="1"/>
              <a:t>ex</a:t>
            </a:r>
            <a:r>
              <a:rPr lang="pt-PT"/>
              <a:t> </a:t>
            </a:r>
            <a:r>
              <a:rPr lang="pt-PT" err="1"/>
              <a:t>ea</a:t>
            </a:r>
            <a:r>
              <a:rPr lang="pt-PT"/>
              <a:t> </a:t>
            </a:r>
            <a:r>
              <a:rPr lang="pt-PT" err="1"/>
              <a:t>commodo</a:t>
            </a:r>
            <a:r>
              <a:rPr lang="pt-PT"/>
              <a:t> </a:t>
            </a:r>
            <a:r>
              <a:rPr lang="pt-PT" err="1"/>
              <a:t>consequat</a:t>
            </a:r>
            <a:r>
              <a:rPr lang="pt-PT"/>
              <a:t>. </a:t>
            </a:r>
            <a:r>
              <a:rPr lang="pt-PT" err="1"/>
              <a:t>Duis</a:t>
            </a:r>
            <a:r>
              <a:rPr lang="pt-PT"/>
              <a:t> </a:t>
            </a:r>
            <a:r>
              <a:rPr lang="pt-PT" err="1"/>
              <a:t>aute</a:t>
            </a:r>
            <a:r>
              <a:rPr lang="pt-PT"/>
              <a:t> </a:t>
            </a:r>
            <a:r>
              <a:rPr lang="pt-PT" err="1"/>
              <a:t>irure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in </a:t>
            </a:r>
            <a:r>
              <a:rPr lang="pt-PT" err="1"/>
              <a:t>reprehenderit</a:t>
            </a:r>
            <a:r>
              <a:rPr lang="pt-PT"/>
              <a:t> in </a:t>
            </a:r>
            <a:r>
              <a:rPr lang="pt-PT" err="1"/>
              <a:t>voluptate</a:t>
            </a:r>
            <a:r>
              <a:rPr lang="pt-PT"/>
              <a:t> </a:t>
            </a:r>
            <a:r>
              <a:rPr lang="pt-PT" err="1"/>
              <a:t>velit</a:t>
            </a:r>
            <a:r>
              <a:rPr lang="pt-PT"/>
              <a:t> esse </a:t>
            </a:r>
            <a:r>
              <a:rPr lang="pt-PT" err="1"/>
              <a:t>cillum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eu </a:t>
            </a:r>
            <a:r>
              <a:rPr lang="pt-PT" err="1"/>
              <a:t>fugiat</a:t>
            </a:r>
            <a:r>
              <a:rPr lang="pt-PT"/>
              <a:t> </a:t>
            </a:r>
            <a:r>
              <a:rPr lang="pt-PT" err="1"/>
              <a:t>nulla</a:t>
            </a:r>
            <a:r>
              <a:rPr lang="pt-PT"/>
              <a:t> </a:t>
            </a:r>
            <a:r>
              <a:rPr lang="pt-PT" err="1"/>
              <a:t>pariatur</a:t>
            </a:r>
            <a:r>
              <a:rPr lang="pt-PT"/>
              <a:t>. </a:t>
            </a:r>
          </a:p>
        </p:txBody>
      </p:sp>
      <p:sp>
        <p:nvSpPr>
          <p:cNvPr id="3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pic>
        <p:nvPicPr>
          <p:cNvPr id="25" name="Picture 32" descr="Picture 3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B4876"/>
              </a:clrFrom>
              <a:clrTo>
                <a:srgbClr val="0B487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788" y="1897499"/>
            <a:ext cx="2323376" cy="425828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1354042" y="3747144"/>
            <a:ext cx="1294867" cy="584708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solidFill>
                  <a:schemeClr val="accent2"/>
                </a:solidFill>
              </a:defRPr>
            </a:lvl1pPr>
          </a:lstStyle>
          <a:p>
            <a:r>
              <a:rPr lang="pt-PT" err="1"/>
              <a:t>Fill</a:t>
            </a:r>
            <a:r>
              <a:rPr lang="pt-PT"/>
              <a:t> </a:t>
            </a:r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screen</a:t>
            </a:r>
            <a:endParaRPr lang="pt-PT"/>
          </a:p>
        </p:txBody>
      </p:sp>
      <p:cxnSp>
        <p:nvCxnSpPr>
          <p:cNvPr id="26" name="Straight Connector 25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35414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3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1097728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4" name="Picture Placeholder 12"/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9206441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79" hasCustomPrompt="1"/>
          </p:nvPr>
        </p:nvSpPr>
        <p:spPr>
          <a:xfrm>
            <a:off x="3800632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6" name="Picture Placeholder 12"/>
          <p:cNvSpPr>
            <a:spLocks noGrp="1" noChangeAspect="1"/>
          </p:cNvSpPr>
          <p:nvPr>
            <p:ph type="pic" sz="quarter" idx="80" hasCustomPrompt="1"/>
          </p:nvPr>
        </p:nvSpPr>
        <p:spPr>
          <a:xfrm>
            <a:off x="6503536" y="1881361"/>
            <a:ext cx="1868334" cy="1868334"/>
          </a:xfrm>
          <a:prstGeom prst="ellipse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8382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18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3543300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19" name="Text Placeholder 25"/>
          <p:cNvSpPr>
            <a:spLocks noGrp="1"/>
          </p:cNvSpPr>
          <p:nvPr>
            <p:ph type="body" sz="quarter" idx="83" hasCustomPrompt="1"/>
          </p:nvPr>
        </p:nvSpPr>
        <p:spPr>
          <a:xfrm>
            <a:off x="3543300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0" name="Text Placeholder 25"/>
          <p:cNvSpPr>
            <a:spLocks noGrp="1"/>
          </p:cNvSpPr>
          <p:nvPr>
            <p:ph type="body" sz="quarter" idx="84" hasCustomPrompt="1"/>
          </p:nvPr>
        </p:nvSpPr>
        <p:spPr>
          <a:xfrm>
            <a:off x="6217786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85" hasCustomPrompt="1"/>
          </p:nvPr>
        </p:nvSpPr>
        <p:spPr>
          <a:xfrm>
            <a:off x="6217786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86" hasCustomPrompt="1"/>
          </p:nvPr>
        </p:nvSpPr>
        <p:spPr>
          <a:xfrm>
            <a:off x="8918784" y="3954118"/>
            <a:ext cx="2387391" cy="227254"/>
          </a:xfrm>
        </p:spPr>
        <p:txBody>
          <a:bodyPr>
            <a:noAutofit/>
          </a:bodyPr>
          <a:lstStyle>
            <a:lvl1pPr marL="0" indent="0" algn="ctr">
              <a:buNone/>
              <a:defRPr sz="12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87" hasCustomPrompt="1"/>
          </p:nvPr>
        </p:nvSpPr>
        <p:spPr>
          <a:xfrm>
            <a:off x="8918784" y="4199933"/>
            <a:ext cx="2387391" cy="302475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pt-PT"/>
              <a:t>Role</a:t>
            </a:r>
          </a:p>
        </p:txBody>
      </p:sp>
      <p:sp>
        <p:nvSpPr>
          <p:cNvPr id="24" name="Text Placeholder 25"/>
          <p:cNvSpPr>
            <a:spLocks noGrp="1"/>
          </p:cNvSpPr>
          <p:nvPr>
            <p:ph type="body" sz="quarter" idx="88" hasCustomPrompt="1"/>
          </p:nvPr>
        </p:nvSpPr>
        <p:spPr>
          <a:xfrm>
            <a:off x="838200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5" name="Text Placeholder 25"/>
          <p:cNvSpPr>
            <a:spLocks noGrp="1"/>
          </p:cNvSpPr>
          <p:nvPr>
            <p:ph type="body" sz="quarter" idx="89" hasCustomPrompt="1"/>
          </p:nvPr>
        </p:nvSpPr>
        <p:spPr>
          <a:xfrm>
            <a:off x="3531728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90" hasCustomPrompt="1"/>
          </p:nvPr>
        </p:nvSpPr>
        <p:spPr>
          <a:xfrm>
            <a:off x="6225256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91" hasCustomPrompt="1"/>
          </p:nvPr>
        </p:nvSpPr>
        <p:spPr>
          <a:xfrm>
            <a:off x="8918783" y="4618679"/>
            <a:ext cx="2387391" cy="1086796"/>
          </a:xfrm>
        </p:spPr>
        <p:txBody>
          <a:bodyPr>
            <a:noAutofit/>
          </a:bodyPr>
          <a:lstStyle>
            <a:lvl1pPr marL="0" indent="0" algn="ctr">
              <a:buNone/>
              <a:defRPr sz="14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 </a:t>
            </a:r>
            <a:r>
              <a:rPr lang="pt-PT" err="1"/>
              <a:t>tempor</a:t>
            </a:r>
            <a:r>
              <a:rPr lang="pt-PT"/>
              <a:t> </a:t>
            </a:r>
            <a:r>
              <a:rPr lang="pt-PT" err="1"/>
              <a:t>incididunt</a:t>
            </a:r>
            <a:r>
              <a:rPr lang="pt-PT"/>
              <a:t> ut labore </a:t>
            </a:r>
            <a:r>
              <a:rPr lang="pt-PT" err="1"/>
              <a:t>et</a:t>
            </a:r>
            <a:r>
              <a:rPr lang="pt-PT"/>
              <a:t> </a:t>
            </a:r>
            <a:r>
              <a:rPr lang="pt-PT" err="1"/>
              <a:t>dolore</a:t>
            </a:r>
            <a:r>
              <a:rPr lang="pt-PT"/>
              <a:t> magna </a:t>
            </a:r>
            <a:r>
              <a:rPr lang="pt-PT" err="1"/>
              <a:t>aliqua</a:t>
            </a:r>
            <a:r>
              <a:rPr lang="pt-PT"/>
              <a:t>.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21615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14514" y="2757714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839788" y="1341439"/>
            <a:ext cx="9052785" cy="698376"/>
          </a:xfrm>
        </p:spPr>
        <p:txBody>
          <a:bodyPr>
            <a:noAutofit/>
          </a:bodyPr>
          <a:lstStyle>
            <a:lvl1pPr marL="0" indent="0" algn="l">
              <a:buNone/>
              <a:defRPr sz="50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endParaRPr lang="pt-PT"/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9" y="2256285"/>
            <a:ext cx="6869306" cy="117271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9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!</a:t>
            </a:r>
          </a:p>
          <a:p>
            <a:pPr lvl="0"/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 </a:t>
            </a:r>
            <a:r>
              <a:rPr lang="pt-PT" err="1"/>
              <a:t>elit</a:t>
            </a:r>
            <a:r>
              <a:rPr lang="pt-PT"/>
              <a:t>, </a:t>
            </a:r>
            <a:r>
              <a:rPr lang="pt-PT" err="1"/>
              <a:t>sed</a:t>
            </a:r>
            <a:r>
              <a:rPr lang="pt-PT"/>
              <a:t> do </a:t>
            </a:r>
            <a:r>
              <a:rPr lang="pt-PT" err="1"/>
              <a:t>eiusmod</a:t>
            </a:r>
            <a:r>
              <a:rPr lang="pt-P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9725850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19253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024241EE-894A-4944-8BD5-9FD380958B89}" type="datetime1">
              <a:rPr lang="en-US" smtClean="0"/>
              <a:t>4/1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2AD3567-3978-4891-9C54-4B2011A71FB4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838201" y="1265167"/>
            <a:ext cx="1292525" cy="1"/>
          </a:xfrm>
          <a:prstGeom prst="line">
            <a:avLst/>
          </a:prstGeom>
          <a:ln w="28575">
            <a:solidFill>
              <a:srgbClr val="F4CF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774188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/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err="1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 err="1"/>
              <a:t>Click</a:t>
            </a:r>
            <a:r>
              <a:rPr lang="pt-PT" baseline="0"/>
              <a:t> </a:t>
            </a:r>
            <a:r>
              <a:rPr lang="pt-PT" baseline="0" err="1"/>
              <a:t>the</a:t>
            </a:r>
            <a:r>
              <a:rPr lang="pt-PT" baseline="0"/>
              <a:t>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827120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rase Grande">
    <p:bg>
      <p:bgPr>
        <a:solidFill>
          <a:srgbClr val="E9EB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Número do diapositivo"/>
          <p:cNvSpPr txBox="1">
            <a:spLocks noGrp="1"/>
          </p:cNvSpPr>
          <p:nvPr>
            <p:ph type="sldNum" sz="quarter" idx="2"/>
          </p:nvPr>
        </p:nvSpPr>
        <p:spPr>
          <a:xfrm>
            <a:off x="11791258" y="6504064"/>
            <a:ext cx="222236" cy="219243"/>
          </a:xfrm>
          <a:prstGeom prst="rect">
            <a:avLst/>
          </a:prstGeom>
        </p:spPr>
        <p:txBody>
          <a:bodyPr lIns="35701" tIns="35701" rIns="35701" bIns="35701" anchor="b"/>
          <a:lstStyle>
            <a:lvl1pPr algn="r" defTabSz="146047">
              <a:defRPr sz="800" b="1">
                <a:solidFill>
                  <a:srgbClr val="FFFFFF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90" name="Frases slides ponte,…"/>
          <p:cNvSpPr txBox="1">
            <a:spLocks noGrp="1"/>
          </p:cNvSpPr>
          <p:nvPr>
            <p:ph type="body" sz="half" idx="13"/>
          </p:nvPr>
        </p:nvSpPr>
        <p:spPr>
          <a:xfrm>
            <a:off x="0" y="2307054"/>
            <a:ext cx="12192000" cy="5155257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 defTabSz="2438339">
              <a:lnSpc>
                <a:spcPts val="17866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sym typeface="Futura LT Book"/>
              </a:defRPr>
            </a:lvl1pPr>
          </a:lstStyle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rases slides ponte, 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t>Fundo neutro</a:t>
            </a:r>
          </a:p>
          <a:p>
            <a:pPr marL="0" indent="0" algn="ctr" defTabSz="1828800">
              <a:lnSpc>
                <a:spcPts val="13400"/>
              </a:lnSpc>
              <a:spcBef>
                <a:spcPts val="0"/>
              </a:spcBef>
              <a:buSzTx/>
              <a:buNone/>
              <a:defRPr sz="9800" b="1">
                <a:solidFill>
                  <a:srgbClr val="6A7889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pPr>
            <a:r>
              <a:rPr>
                <a:solidFill>
                  <a:schemeClr val="accent5">
                    <a:hueOff val="-82419"/>
                    <a:satOff val="-9513"/>
                    <a:lumOff val="-16343"/>
                  </a:schemeClr>
                </a:solidFill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6816548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95DD4-FBA3-BD43-A5C4-5318D91B7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BCA56D-4DB0-6546-8CF3-E826719022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7EC2A8-2E88-0E4D-8860-73186CB01C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FD3471-51AB-6241-8477-85403BB7E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26D76-9C40-4C1A-B117-D55B5FD2C587}" type="datetime1">
              <a:rPr lang="en-US" smtClean="0"/>
              <a:t>4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F457A6-DB40-9743-96E9-5F4C07BF94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75DDDF-E3F8-EF40-A82B-14D2A8AAF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AB4622-4A36-9A4C-B598-C6DF12CB0A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32899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30616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62147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4875AD7-C6B5-BB44-A721-A67C940C79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8200" y="178927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198831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11828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-dar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685800" y="-41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90146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4634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755040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68427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94382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&amp;Sub/chapter Slid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pt-PT" smtClean="0"/>
              <a:pPr/>
              <a:t>‹#›</a:t>
            </a:fld>
            <a:endParaRPr lang="pt-PT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3233188"/>
            <a:ext cx="11457583" cy="391625"/>
          </a:xfr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hapter name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5790208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et_ready.png" descr="get_ready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80" t="33810" r="4707" b="10673"/>
          <a:stretch/>
        </p:blipFill>
        <p:spPr>
          <a:xfrm>
            <a:off x="-29028" y="2795133"/>
            <a:ext cx="12221028" cy="4107544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/>
          <p:cNvSpPr/>
          <p:nvPr userDrawn="1"/>
        </p:nvSpPr>
        <p:spPr>
          <a:xfrm>
            <a:off x="956170" y="4348738"/>
            <a:ext cx="1449408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Rectangle 11"/>
          <p:cNvSpPr txBox="1"/>
          <p:nvPr userDrawn="1"/>
        </p:nvSpPr>
        <p:spPr>
          <a:xfrm>
            <a:off x="892928" y="4077558"/>
            <a:ext cx="4407173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Drop us a line:</a:t>
            </a:r>
          </a:p>
        </p:txBody>
      </p:sp>
      <p:sp>
        <p:nvSpPr>
          <p:cNvPr id="12" name="Rectangle 6"/>
          <p:cNvSpPr txBox="1"/>
          <p:nvPr userDrawn="1"/>
        </p:nvSpPr>
        <p:spPr>
          <a:xfrm>
            <a:off x="847208" y="849642"/>
            <a:ext cx="4407171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t>Find out more about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955748" y="1795016"/>
            <a:ext cx="4692332" cy="31374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 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55748" y="3070145"/>
            <a:ext cx="1392852" cy="3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24" name="Picture Placeholder 12"/>
          <p:cNvSpPr>
            <a:spLocks noGrp="1" noChangeAspect="1"/>
          </p:cNvSpPr>
          <p:nvPr>
            <p:ph type="pic" sz="quarter" idx="77" hasCustomPrompt="1"/>
          </p:nvPr>
        </p:nvSpPr>
        <p:spPr>
          <a:xfrm>
            <a:off x="956170" y="4684377"/>
            <a:ext cx="1160088" cy="1160088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PT"/>
              <a:t>Picture here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78" hasCustomPrompt="1"/>
          </p:nvPr>
        </p:nvSpPr>
        <p:spPr>
          <a:xfrm>
            <a:off x="892928" y="3149815"/>
            <a:ext cx="5043487" cy="309434"/>
          </a:xfrm>
        </p:spPr>
        <p:txBody>
          <a:bodyPr>
            <a:noAutofit/>
          </a:bodyPr>
          <a:lstStyle>
            <a:lvl1pPr marL="0" indent="0">
              <a:buNone/>
              <a:defRPr sz="1600" u="sng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pt-PT" err="1"/>
              <a:t>Add</a:t>
            </a:r>
            <a:r>
              <a:rPr lang="pt-PT"/>
              <a:t> a link </a:t>
            </a:r>
            <a:r>
              <a:rPr lang="pt-PT" err="1"/>
              <a:t>here</a:t>
            </a:r>
            <a:endParaRPr lang="pt-PT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79" hasCustomPrompt="1"/>
          </p:nvPr>
        </p:nvSpPr>
        <p:spPr>
          <a:xfrm>
            <a:off x="2340628" y="4682617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1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Surname</a:t>
            </a:r>
            <a:endParaRPr lang="pt-PT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80" hasCustomPrompt="1"/>
          </p:nvPr>
        </p:nvSpPr>
        <p:spPr>
          <a:xfrm>
            <a:off x="2340628" y="4917379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osition</a:t>
            </a:r>
            <a:endParaRPr lang="pt-PT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81" hasCustomPrompt="1"/>
          </p:nvPr>
        </p:nvSpPr>
        <p:spPr>
          <a:xfrm>
            <a:off x="2340628" y="5326235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/>
              <a:t>E-mail </a:t>
            </a:r>
            <a:r>
              <a:rPr lang="pt-PT" err="1"/>
              <a:t>adress</a:t>
            </a:r>
            <a:endParaRPr lang="pt-PT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82" hasCustomPrompt="1"/>
          </p:nvPr>
        </p:nvSpPr>
        <p:spPr>
          <a:xfrm>
            <a:off x="2340628" y="5580338"/>
            <a:ext cx="3755372" cy="232484"/>
          </a:xfrm>
        </p:spPr>
        <p:txBody>
          <a:bodyPr>
            <a:noAutofit/>
          </a:bodyPr>
          <a:lstStyle>
            <a:lvl1pPr marL="0" indent="0">
              <a:buNone/>
              <a:defRPr sz="1600" b="0" u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Phone</a:t>
            </a:r>
            <a:r>
              <a:rPr lang="pt-PT"/>
              <a:t> </a:t>
            </a:r>
            <a:r>
              <a:rPr lang="pt-PT" err="1"/>
              <a:t>number</a:t>
            </a:r>
            <a:endParaRPr lang="pt-PT"/>
          </a:p>
        </p:txBody>
      </p:sp>
      <p:sp>
        <p:nvSpPr>
          <p:cNvPr id="17" name="Rectangle 8"/>
          <p:cNvSpPr txBox="1"/>
          <p:nvPr userDrawn="1"/>
        </p:nvSpPr>
        <p:spPr>
          <a:xfrm>
            <a:off x="847208" y="2795133"/>
            <a:ext cx="4042801" cy="436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88900" tIns="88900" rIns="88900" bIns="88900" anchor="ctr">
            <a:spAutoFit/>
          </a:bodyPr>
          <a:lstStyle>
            <a:lvl1pPr>
              <a:lnSpc>
                <a:spcPct val="105999"/>
              </a:lnSpc>
              <a:defRPr sz="1600" b="1">
                <a:solidFill>
                  <a:srgbClr val="183A66"/>
                </a:solidFill>
                <a:latin typeface="EC Square Sans Pro"/>
                <a:ea typeface="EC Square Sans Pro"/>
                <a:cs typeface="EC Square Sans Pro"/>
                <a:sym typeface="EC Square Sans Pro"/>
              </a:defRPr>
            </a:lvl1pPr>
          </a:lstStyle>
          <a:p>
            <a:r>
              <a:rPr lang="pt-PT"/>
              <a:t>Click</a:t>
            </a:r>
            <a:r>
              <a:rPr lang="pt-PT" baseline="0"/>
              <a:t> the link:</a:t>
            </a:r>
            <a:endParaRPr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87854" y="1400559"/>
            <a:ext cx="5043487" cy="501867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he</a:t>
            </a:r>
            <a:r>
              <a:rPr lang="pt-PT"/>
              <a:t> </a:t>
            </a:r>
            <a:r>
              <a:rPr lang="pt-PT" err="1"/>
              <a:t>topic’s</a:t>
            </a:r>
            <a:r>
              <a:rPr lang="pt-PT"/>
              <a:t> </a:t>
            </a:r>
            <a:r>
              <a:rPr lang="pt-PT" err="1"/>
              <a:t>name</a:t>
            </a:r>
            <a:r>
              <a:rPr lang="pt-PT"/>
              <a:t> </a:t>
            </a:r>
            <a:r>
              <a:rPr lang="pt-PT" err="1"/>
              <a:t>her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505308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thent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99047" y="6300681"/>
            <a:ext cx="637374" cy="365125"/>
          </a:xfrm>
        </p:spPr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42820430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ent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99047" y="6300681"/>
            <a:ext cx="637374" cy="365125"/>
          </a:xfrm>
        </p:spPr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>
                <a:solidFill>
                  <a:schemeClr val="accent4"/>
                </a:solidFill>
                <a:latin typeface="EC Square Sans Pro"/>
              </a:rPr>
              <a:t>Authenticate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     Locate evidence     User request     Evidence request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Record Matching     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0C0468-FBFD-D341-9660-8CEB434721F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894638" y="1209840"/>
            <a:ext cx="2811462" cy="4915467"/>
          </a:xfrm>
          <a:effectLst>
            <a:outerShdw blurRad="259689" dist="63500" dir="8100000" algn="tr" rotWithShape="0">
              <a:schemeClr val="bg1">
                <a:lumMod val="50000"/>
                <a:alpha val="50462"/>
              </a:schemeClr>
            </a:outerShdw>
          </a:effectLst>
        </p:spPr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254852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c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    Locate evidenc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User request     Evidence request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Record Matching     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51614120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idence Reque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Evidence request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Record Matching     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05008394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rd Matc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Evidence request     </a:t>
            </a:r>
            <a:r>
              <a:rPr lang="en-GB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Record Matching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210175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idence Respon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Evidence request     </a:t>
            </a:r>
            <a:r>
              <a:rPr lang="en-GB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Record Matching     </a:t>
            </a:r>
            <a:r>
              <a:rPr lang="en-GB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8867827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3683944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Evidence request     </a:t>
            </a:r>
            <a:r>
              <a:rPr lang="en-GB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Record Matching     Evidence response    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Preview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15586295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User request     Evidence request     </a:t>
            </a:r>
            <a:r>
              <a:rPr lang="en-GB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Record Matching     Evidence response     </a:t>
            </a:r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Preview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     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Confirm</a:t>
            </a:r>
            <a:endParaRPr lang="nl-BE" sz="900" b="1" kern="1200">
              <a:solidFill>
                <a:schemeClr val="accent4"/>
              </a:solidFill>
              <a:latin typeface="EC Square Sans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379941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357764-09DB-804B-8AC2-96ED1CA3050F}"/>
              </a:ext>
            </a:extLst>
          </p:cNvPr>
          <p:cNvSpPr txBox="1"/>
          <p:nvPr userDrawn="1"/>
        </p:nvSpPr>
        <p:spPr>
          <a:xfrm>
            <a:off x="2354812" y="346084"/>
            <a:ext cx="74823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kern="1200">
                <a:solidFill>
                  <a:schemeClr val="accent1"/>
                </a:solidFill>
                <a:latin typeface="EC Square Sans Pro"/>
                <a:ea typeface="+mn-ea"/>
                <a:cs typeface="+mn-cs"/>
              </a:rPr>
              <a:t>Authenticate     Locate evidence     </a:t>
            </a:r>
            <a:r>
              <a:rPr lang="en-US" sz="900" b="1" kern="1200">
                <a:solidFill>
                  <a:schemeClr val="accent4"/>
                </a:solidFill>
                <a:latin typeface="EC Square Sans Pro"/>
                <a:ea typeface="+mn-ea"/>
                <a:cs typeface="+mn-cs"/>
              </a:rPr>
              <a:t>User request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Evidence request     </a:t>
            </a:r>
            <a:r>
              <a:rPr lang="en-GB" sz="900">
                <a:solidFill>
                  <a:schemeClr val="accent1"/>
                </a:solidFill>
                <a:latin typeface="EC Square Sans Pro"/>
              </a:rPr>
              <a:t>Record Matching     Evidence response     </a:t>
            </a:r>
            <a:r>
              <a:rPr lang="en-US" sz="900">
                <a:solidFill>
                  <a:schemeClr val="accent1"/>
                </a:solidFill>
                <a:latin typeface="EC Square Sans Pro"/>
              </a:rPr>
              <a:t>Preview      Confirm</a:t>
            </a:r>
            <a:endParaRPr lang="nl-BE" sz="900">
              <a:solidFill>
                <a:schemeClr val="accent1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21873765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8E0C5-1CC4-7A48-AE00-232256B68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6FA6A6-CC21-5A42-A6E6-341E757D72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209841"/>
            <a:ext cx="4892675" cy="4438318"/>
          </a:xfrm>
        </p:spPr>
        <p:txBody>
          <a:bodyPr anchor="ctr">
            <a:normAutofit/>
          </a:bodyPr>
          <a:lstStyle>
            <a:lvl1pPr marL="0" indent="0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20808817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70B7A2-124B-154F-B691-E004F68B59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F8DBEA1-9380-9C40-A999-4C3BECB2BB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35126" y="1786270"/>
            <a:ext cx="8314660" cy="183943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7557306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8ED8F0-1F56-F04C-8E7C-1070EA500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1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B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70B7A2-124B-154F-B691-E004F68B59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F8DBEA1-9380-9C40-A999-4C3BECB2BB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35126" y="1786270"/>
            <a:ext cx="8314660" cy="183943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10000"/>
              </a:lnSpc>
              <a:buNone/>
              <a:defRPr sz="1700">
                <a:solidFill>
                  <a:schemeClr val="accent2"/>
                </a:solidFill>
              </a:defRPr>
            </a:lvl1pPr>
            <a:lvl2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2pPr>
            <a:lvl3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3pPr>
            <a:lvl4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4pPr>
            <a:lvl5pPr algn="ctr">
              <a:lnSpc>
                <a:spcPct val="110000"/>
              </a:lnSpc>
              <a:defRPr sz="1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5752016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388190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0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297014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7703"/>
            <a:ext cx="3450220" cy="782281"/>
          </a:xfrm>
        </p:spPr>
        <p:txBody>
          <a:bodyPr>
            <a:noAutofit/>
          </a:bodyPr>
          <a:lstStyle>
            <a:lvl1pPr>
              <a:defRPr sz="270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8994" y="3180785"/>
            <a:ext cx="3449426" cy="11655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buNone/>
              <a:defRPr sz="2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8466463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0373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839788" y="1079980"/>
            <a:ext cx="10514012" cy="25805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Subtitle</a:t>
            </a:r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685800" y="-16852"/>
            <a:ext cx="0" cy="135829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15095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0564830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0534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4742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119188" y="3607143"/>
            <a:ext cx="4692321" cy="602194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54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1119188" y="2042788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-16852"/>
            <a:ext cx="0" cy="4737053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40968" y="4453501"/>
            <a:ext cx="4670541" cy="235449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571711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pt-PT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939634" y="2900697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r>
              <a:rPr lang="pt-PT"/>
              <a:t> 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 flipV="1">
            <a:off x="1939624" y="3700769"/>
            <a:ext cx="8312752" cy="9136"/>
          </a:xfrm>
          <a:solidFill>
            <a:schemeClr val="accent5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 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493541" y="1005497"/>
            <a:ext cx="3204918" cy="728654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1939633" y="4013534"/>
            <a:ext cx="8312733" cy="452437"/>
          </a:xfrm>
        </p:spPr>
        <p:txBody>
          <a:bodyPr wrap="square" lIns="0" tIns="0" rIns="0" bIns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err="1"/>
              <a:t>Lorem</a:t>
            </a:r>
            <a:r>
              <a:rPr lang="pt-PT"/>
              <a:t> </a:t>
            </a:r>
            <a:r>
              <a:rPr lang="pt-PT" err="1"/>
              <a:t>ipsum</a:t>
            </a:r>
            <a:r>
              <a:rPr lang="pt-PT"/>
              <a:t> </a:t>
            </a:r>
            <a:r>
              <a:rPr lang="pt-PT" err="1"/>
              <a:t>dolor</a:t>
            </a:r>
            <a:r>
              <a:rPr lang="pt-PT"/>
              <a:t> </a:t>
            </a:r>
            <a:r>
              <a:rPr lang="pt-PT" err="1"/>
              <a:t>sit</a:t>
            </a:r>
            <a:r>
              <a:rPr lang="pt-PT"/>
              <a:t> </a:t>
            </a:r>
            <a:r>
              <a:rPr lang="pt-PT" err="1"/>
              <a:t>amet</a:t>
            </a:r>
            <a:r>
              <a:rPr lang="pt-PT"/>
              <a:t>, </a:t>
            </a:r>
            <a:r>
              <a:rPr lang="pt-PT" err="1"/>
              <a:t>consectetur</a:t>
            </a:r>
            <a:r>
              <a:rPr lang="pt-PT"/>
              <a:t> </a:t>
            </a:r>
            <a:r>
              <a:rPr lang="pt-PT" err="1"/>
              <a:t>adipiscing</a:t>
            </a:r>
            <a:r>
              <a:rPr lang="pt-PT"/>
              <a:t>.</a:t>
            </a:r>
          </a:p>
          <a:p>
            <a:pPr lv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7527683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1362721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6421714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067467" y="311400"/>
            <a:ext cx="6256800" cy="62352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2895589"/>
            <a:ext cx="4692321" cy="1066822"/>
          </a:xfrm>
          <a:blipFill>
            <a:blip r:embed="rId3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169005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 Slid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749840" y="2895589"/>
            <a:ext cx="4692321" cy="1066822"/>
          </a:xfrm>
          <a:blipFill>
            <a:blip r:embed="rId2"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342836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10413" y="852471"/>
            <a:ext cx="5170909" cy="515305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4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788" y="183262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19138" y="1877131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39788" y="271536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19138" y="275986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39788" y="3112678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39788" y="355671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19138" y="360122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39788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63536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42886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39788" y="482541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51344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30694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63536" y="5716385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3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85800" y="-16852"/>
            <a:ext cx="0" cy="10693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677861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Data 10"/>
          <p:cNvSpPr/>
          <p:nvPr userDrawn="1"/>
        </p:nvSpPr>
        <p:spPr>
          <a:xfrm>
            <a:off x="4478832" y="0"/>
            <a:ext cx="7941277" cy="6858000"/>
          </a:xfrm>
          <a:prstGeom prst="flowChartInputOutpu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>
              <a:latin typeface="EC Square Sans Pro" panose="020B0506040000020004" pitchFamily="34" charset="0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695569" y="0"/>
            <a:ext cx="7941277" cy="6858001"/>
          </a:xfrm>
          <a:prstGeom prst="flowChartInputOutput">
            <a:avLst/>
          </a:prstGeom>
          <a:solidFill>
            <a:schemeClr val="accent6"/>
          </a:solidFill>
        </p:spPr>
        <p:txBody>
          <a:bodyPr/>
          <a:lstStyle/>
          <a:p>
            <a:endParaRPr lang="pt-PT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3467" y="1824617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222817" y="1869122"/>
            <a:ext cx="491337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878392" y="2229944"/>
            <a:ext cx="5257800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43467" y="2695630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222817" y="2740135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843467" y="310095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43467" y="3566643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222817" y="3611148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843467" y="3963961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843467" y="4437656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222817" y="4482161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43467" y="4834974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43467" y="5308669"/>
            <a:ext cx="367158" cy="32910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36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PT"/>
              <a:t>#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2817" y="5353174"/>
            <a:ext cx="2206751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7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pt-PT" err="1"/>
              <a:t>Title</a:t>
            </a:r>
            <a:endParaRPr lang="pt-PT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843467" y="5705987"/>
            <a:ext cx="5292725" cy="329104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pt-PT"/>
              <a:t>A </a:t>
            </a:r>
            <a:r>
              <a:rPr lang="pt-PT" err="1"/>
              <a:t>brief</a:t>
            </a:r>
            <a:r>
              <a:rPr lang="pt-PT"/>
              <a:t> </a:t>
            </a:r>
            <a:r>
              <a:rPr lang="pt-PT" err="1"/>
              <a:t>description</a:t>
            </a:r>
            <a:endParaRPr lang="pt-PT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1213811" y="6165382"/>
            <a:ext cx="701038" cy="486183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/>
              <a:t> 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pt-PT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85800" y="-4152"/>
            <a:ext cx="0" cy="1056665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96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5.xml"/><Relationship Id="rId3" Type="http://schemas.openxmlformats.org/officeDocument/2006/relationships/slideLayout" Target="../slideLayouts/slideLayout370.xml"/><Relationship Id="rId7" Type="http://schemas.openxmlformats.org/officeDocument/2006/relationships/slideLayout" Target="../slideLayouts/slideLayout374.xml"/><Relationship Id="rId12" Type="http://schemas.openxmlformats.org/officeDocument/2006/relationships/image" Target="../media/image30.jpeg"/><Relationship Id="rId2" Type="http://schemas.openxmlformats.org/officeDocument/2006/relationships/slideLayout" Target="../slideLayouts/slideLayout369.xml"/><Relationship Id="rId1" Type="http://schemas.openxmlformats.org/officeDocument/2006/relationships/slideLayout" Target="../slideLayouts/slideLayout368.xml"/><Relationship Id="rId6" Type="http://schemas.openxmlformats.org/officeDocument/2006/relationships/slideLayout" Target="../slideLayouts/slideLayout373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372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371.xml"/><Relationship Id="rId9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12.xml"/><Relationship Id="rId21" Type="http://schemas.openxmlformats.org/officeDocument/2006/relationships/slideLayout" Target="../slideLayouts/slideLayout107.xml"/><Relationship Id="rId42" Type="http://schemas.openxmlformats.org/officeDocument/2006/relationships/slideLayout" Target="../slideLayouts/slideLayout128.xml"/><Relationship Id="rId47" Type="http://schemas.openxmlformats.org/officeDocument/2006/relationships/slideLayout" Target="../slideLayouts/slideLayout133.xml"/><Relationship Id="rId63" Type="http://schemas.openxmlformats.org/officeDocument/2006/relationships/slideLayout" Target="../slideLayouts/slideLayout149.xml"/><Relationship Id="rId68" Type="http://schemas.openxmlformats.org/officeDocument/2006/relationships/oleObject" Target="../embeddings/oleObject1.bin"/><Relationship Id="rId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9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slideLayout" Target="../slideLayouts/slideLayout126.xml"/><Relationship Id="rId45" Type="http://schemas.openxmlformats.org/officeDocument/2006/relationships/slideLayout" Target="../slideLayouts/slideLayout131.xml"/><Relationship Id="rId53" Type="http://schemas.openxmlformats.org/officeDocument/2006/relationships/slideLayout" Target="../slideLayouts/slideLayout139.xml"/><Relationship Id="rId58" Type="http://schemas.openxmlformats.org/officeDocument/2006/relationships/slideLayout" Target="../slideLayouts/slideLayout144.xml"/><Relationship Id="rId66" Type="http://schemas.openxmlformats.org/officeDocument/2006/relationships/vmlDrawing" Target="../drawings/vmlDrawing1.vml"/><Relationship Id="rId5" Type="http://schemas.openxmlformats.org/officeDocument/2006/relationships/slideLayout" Target="../slideLayouts/slideLayout91.xml"/><Relationship Id="rId61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Relationship Id="rId43" Type="http://schemas.openxmlformats.org/officeDocument/2006/relationships/slideLayout" Target="../slideLayouts/slideLayout129.xml"/><Relationship Id="rId48" Type="http://schemas.openxmlformats.org/officeDocument/2006/relationships/slideLayout" Target="../slideLayouts/slideLayout134.xml"/><Relationship Id="rId56" Type="http://schemas.openxmlformats.org/officeDocument/2006/relationships/slideLayout" Target="../slideLayouts/slideLayout142.xml"/><Relationship Id="rId64" Type="http://schemas.openxmlformats.org/officeDocument/2006/relationships/slideLayout" Target="../slideLayouts/slideLayout150.xml"/><Relationship Id="rId69" Type="http://schemas.openxmlformats.org/officeDocument/2006/relationships/image" Target="../media/image20.emf"/><Relationship Id="rId8" Type="http://schemas.openxmlformats.org/officeDocument/2006/relationships/slideLayout" Target="../slideLayouts/slideLayout94.xml"/><Relationship Id="rId51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46" Type="http://schemas.openxmlformats.org/officeDocument/2006/relationships/slideLayout" Target="../slideLayouts/slideLayout132.xml"/><Relationship Id="rId59" Type="http://schemas.openxmlformats.org/officeDocument/2006/relationships/slideLayout" Target="../slideLayouts/slideLayout145.xml"/><Relationship Id="rId67" Type="http://schemas.openxmlformats.org/officeDocument/2006/relationships/tags" Target="../tags/tag1.xml"/><Relationship Id="rId20" Type="http://schemas.openxmlformats.org/officeDocument/2006/relationships/slideLayout" Target="../slideLayouts/slideLayout106.xml"/><Relationship Id="rId41" Type="http://schemas.openxmlformats.org/officeDocument/2006/relationships/slideLayout" Target="../slideLayouts/slideLayout127.xml"/><Relationship Id="rId54" Type="http://schemas.openxmlformats.org/officeDocument/2006/relationships/slideLayout" Target="../slideLayouts/slideLayout140.xml"/><Relationship Id="rId6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49" Type="http://schemas.openxmlformats.org/officeDocument/2006/relationships/slideLayout" Target="../slideLayouts/slideLayout135.xml"/><Relationship Id="rId57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96.xml"/><Relationship Id="rId31" Type="http://schemas.openxmlformats.org/officeDocument/2006/relationships/slideLayout" Target="../slideLayouts/slideLayout117.xml"/><Relationship Id="rId44" Type="http://schemas.openxmlformats.org/officeDocument/2006/relationships/slideLayout" Target="../slideLayouts/slideLayout130.xml"/><Relationship Id="rId52" Type="http://schemas.openxmlformats.org/officeDocument/2006/relationships/slideLayout" Target="../slideLayouts/slideLayout138.xml"/><Relationship Id="rId60" Type="http://schemas.openxmlformats.org/officeDocument/2006/relationships/slideLayout" Target="../slideLayouts/slideLayout146.xml"/><Relationship Id="rId65" Type="http://schemas.openxmlformats.org/officeDocument/2006/relationships/theme" Target="../theme/theme3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39" Type="http://schemas.openxmlformats.org/officeDocument/2006/relationships/slideLayout" Target="../slideLayouts/slideLayout125.xml"/><Relationship Id="rId34" Type="http://schemas.openxmlformats.org/officeDocument/2006/relationships/slideLayout" Target="../slideLayouts/slideLayout120.xml"/><Relationship Id="rId50" Type="http://schemas.openxmlformats.org/officeDocument/2006/relationships/slideLayout" Target="../slideLayouts/slideLayout136.xml"/><Relationship Id="rId55" Type="http://schemas.openxmlformats.org/officeDocument/2006/relationships/slideLayout" Target="../slideLayouts/slideLayout141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76.xml"/><Relationship Id="rId21" Type="http://schemas.openxmlformats.org/officeDocument/2006/relationships/slideLayout" Target="../slideLayouts/slideLayout171.xml"/><Relationship Id="rId42" Type="http://schemas.openxmlformats.org/officeDocument/2006/relationships/slideLayout" Target="../slideLayouts/slideLayout192.xml"/><Relationship Id="rId47" Type="http://schemas.openxmlformats.org/officeDocument/2006/relationships/slideLayout" Target="../slideLayouts/slideLayout197.xml"/><Relationship Id="rId63" Type="http://schemas.openxmlformats.org/officeDocument/2006/relationships/slideLayout" Target="../slideLayouts/slideLayout213.xml"/><Relationship Id="rId68" Type="http://schemas.openxmlformats.org/officeDocument/2006/relationships/tags" Target="../tags/tag2.xml"/><Relationship Id="rId7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52.xml"/><Relationship Id="rId16" Type="http://schemas.openxmlformats.org/officeDocument/2006/relationships/slideLayout" Target="../slideLayouts/slideLayout166.xml"/><Relationship Id="rId29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61.xml"/><Relationship Id="rId24" Type="http://schemas.openxmlformats.org/officeDocument/2006/relationships/slideLayout" Target="../slideLayouts/slideLayout174.xml"/><Relationship Id="rId32" Type="http://schemas.openxmlformats.org/officeDocument/2006/relationships/slideLayout" Target="../slideLayouts/slideLayout182.xml"/><Relationship Id="rId37" Type="http://schemas.openxmlformats.org/officeDocument/2006/relationships/slideLayout" Target="../slideLayouts/slideLayout187.xml"/><Relationship Id="rId40" Type="http://schemas.openxmlformats.org/officeDocument/2006/relationships/slideLayout" Target="../slideLayouts/slideLayout190.xml"/><Relationship Id="rId45" Type="http://schemas.openxmlformats.org/officeDocument/2006/relationships/slideLayout" Target="../slideLayouts/slideLayout195.xml"/><Relationship Id="rId53" Type="http://schemas.openxmlformats.org/officeDocument/2006/relationships/slideLayout" Target="../slideLayouts/slideLayout203.xml"/><Relationship Id="rId58" Type="http://schemas.openxmlformats.org/officeDocument/2006/relationships/slideLayout" Target="../slideLayouts/slideLayout208.xml"/><Relationship Id="rId66" Type="http://schemas.openxmlformats.org/officeDocument/2006/relationships/theme" Target="../theme/theme4.xml"/><Relationship Id="rId5" Type="http://schemas.openxmlformats.org/officeDocument/2006/relationships/slideLayout" Target="../slideLayouts/slideLayout155.xml"/><Relationship Id="rId61" Type="http://schemas.openxmlformats.org/officeDocument/2006/relationships/slideLayout" Target="../slideLayouts/slideLayout211.xml"/><Relationship Id="rId19" Type="http://schemas.openxmlformats.org/officeDocument/2006/relationships/slideLayout" Target="../slideLayouts/slideLayout169.xml"/><Relationship Id="rId14" Type="http://schemas.openxmlformats.org/officeDocument/2006/relationships/slideLayout" Target="../slideLayouts/slideLayout164.xml"/><Relationship Id="rId22" Type="http://schemas.openxmlformats.org/officeDocument/2006/relationships/slideLayout" Target="../slideLayouts/slideLayout172.xml"/><Relationship Id="rId27" Type="http://schemas.openxmlformats.org/officeDocument/2006/relationships/slideLayout" Target="../slideLayouts/slideLayout177.xml"/><Relationship Id="rId30" Type="http://schemas.openxmlformats.org/officeDocument/2006/relationships/slideLayout" Target="../slideLayouts/slideLayout180.xml"/><Relationship Id="rId35" Type="http://schemas.openxmlformats.org/officeDocument/2006/relationships/slideLayout" Target="../slideLayouts/slideLayout185.xml"/><Relationship Id="rId43" Type="http://schemas.openxmlformats.org/officeDocument/2006/relationships/slideLayout" Target="../slideLayouts/slideLayout193.xml"/><Relationship Id="rId48" Type="http://schemas.openxmlformats.org/officeDocument/2006/relationships/slideLayout" Target="../slideLayouts/slideLayout198.xml"/><Relationship Id="rId56" Type="http://schemas.openxmlformats.org/officeDocument/2006/relationships/slideLayout" Target="../slideLayouts/slideLayout206.xml"/><Relationship Id="rId64" Type="http://schemas.openxmlformats.org/officeDocument/2006/relationships/slideLayout" Target="../slideLayouts/slideLayout214.xml"/><Relationship Id="rId69" Type="http://schemas.openxmlformats.org/officeDocument/2006/relationships/oleObject" Target="../embeddings/oleObject2.bin"/><Relationship Id="rId8" Type="http://schemas.openxmlformats.org/officeDocument/2006/relationships/slideLayout" Target="../slideLayouts/slideLayout158.xml"/><Relationship Id="rId51" Type="http://schemas.openxmlformats.org/officeDocument/2006/relationships/slideLayout" Target="../slideLayouts/slideLayout201.xml"/><Relationship Id="rId3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62.xml"/><Relationship Id="rId17" Type="http://schemas.openxmlformats.org/officeDocument/2006/relationships/slideLayout" Target="../slideLayouts/slideLayout167.xml"/><Relationship Id="rId25" Type="http://schemas.openxmlformats.org/officeDocument/2006/relationships/slideLayout" Target="../slideLayouts/slideLayout175.xml"/><Relationship Id="rId33" Type="http://schemas.openxmlformats.org/officeDocument/2006/relationships/slideLayout" Target="../slideLayouts/slideLayout183.xml"/><Relationship Id="rId38" Type="http://schemas.openxmlformats.org/officeDocument/2006/relationships/slideLayout" Target="../slideLayouts/slideLayout188.xml"/><Relationship Id="rId46" Type="http://schemas.openxmlformats.org/officeDocument/2006/relationships/slideLayout" Target="../slideLayouts/slideLayout196.xml"/><Relationship Id="rId59" Type="http://schemas.openxmlformats.org/officeDocument/2006/relationships/slideLayout" Target="../slideLayouts/slideLayout209.xml"/><Relationship Id="rId67" Type="http://schemas.openxmlformats.org/officeDocument/2006/relationships/vmlDrawing" Target="../drawings/vmlDrawing2.vml"/><Relationship Id="rId20" Type="http://schemas.openxmlformats.org/officeDocument/2006/relationships/slideLayout" Target="../slideLayouts/slideLayout170.xml"/><Relationship Id="rId41" Type="http://schemas.openxmlformats.org/officeDocument/2006/relationships/slideLayout" Target="../slideLayouts/slideLayout191.xml"/><Relationship Id="rId54" Type="http://schemas.openxmlformats.org/officeDocument/2006/relationships/slideLayout" Target="../slideLayouts/slideLayout204.xml"/><Relationship Id="rId62" Type="http://schemas.openxmlformats.org/officeDocument/2006/relationships/slideLayout" Target="../slideLayouts/slideLayout212.xml"/><Relationship Id="rId70" Type="http://schemas.openxmlformats.org/officeDocument/2006/relationships/image" Target="../media/image20.emf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5.xml"/><Relationship Id="rId23" Type="http://schemas.openxmlformats.org/officeDocument/2006/relationships/slideLayout" Target="../slideLayouts/slideLayout173.xml"/><Relationship Id="rId28" Type="http://schemas.openxmlformats.org/officeDocument/2006/relationships/slideLayout" Target="../slideLayouts/slideLayout178.xml"/><Relationship Id="rId36" Type="http://schemas.openxmlformats.org/officeDocument/2006/relationships/slideLayout" Target="../slideLayouts/slideLayout186.xml"/><Relationship Id="rId49" Type="http://schemas.openxmlformats.org/officeDocument/2006/relationships/slideLayout" Target="../slideLayouts/slideLayout199.xml"/><Relationship Id="rId57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160.xml"/><Relationship Id="rId31" Type="http://schemas.openxmlformats.org/officeDocument/2006/relationships/slideLayout" Target="../slideLayouts/slideLayout181.xml"/><Relationship Id="rId44" Type="http://schemas.openxmlformats.org/officeDocument/2006/relationships/slideLayout" Target="../slideLayouts/slideLayout194.xml"/><Relationship Id="rId52" Type="http://schemas.openxmlformats.org/officeDocument/2006/relationships/slideLayout" Target="../slideLayouts/slideLayout202.xml"/><Relationship Id="rId60" Type="http://schemas.openxmlformats.org/officeDocument/2006/relationships/slideLayout" Target="../slideLayouts/slideLayout210.xml"/><Relationship Id="rId65" Type="http://schemas.openxmlformats.org/officeDocument/2006/relationships/slideLayout" Target="../slideLayouts/slideLayout215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3.xml"/><Relationship Id="rId18" Type="http://schemas.openxmlformats.org/officeDocument/2006/relationships/slideLayout" Target="../slideLayouts/slideLayout168.xml"/><Relationship Id="rId39" Type="http://schemas.openxmlformats.org/officeDocument/2006/relationships/slideLayout" Target="../slideLayouts/slideLayout189.xml"/><Relationship Id="rId34" Type="http://schemas.openxmlformats.org/officeDocument/2006/relationships/slideLayout" Target="../slideLayouts/slideLayout184.xml"/><Relationship Id="rId50" Type="http://schemas.openxmlformats.org/officeDocument/2006/relationships/slideLayout" Target="../slideLayouts/slideLayout200.xml"/><Relationship Id="rId55" Type="http://schemas.openxmlformats.org/officeDocument/2006/relationships/slideLayout" Target="../slideLayouts/slideLayout20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3.xml"/><Relationship Id="rId3" Type="http://schemas.openxmlformats.org/officeDocument/2006/relationships/slideLayout" Target="../slideLayouts/slideLayout218.xml"/><Relationship Id="rId7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21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225.xml"/><Relationship Id="rId4" Type="http://schemas.openxmlformats.org/officeDocument/2006/relationships/slideLayout" Target="../slideLayouts/slideLayout219.xml"/><Relationship Id="rId9" Type="http://schemas.openxmlformats.org/officeDocument/2006/relationships/slideLayout" Target="../slideLayouts/slideLayout224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51.xml"/><Relationship Id="rId21" Type="http://schemas.openxmlformats.org/officeDocument/2006/relationships/slideLayout" Target="../slideLayouts/slideLayout246.xml"/><Relationship Id="rId34" Type="http://schemas.openxmlformats.org/officeDocument/2006/relationships/slideLayout" Target="../slideLayouts/slideLayout259.xml"/><Relationship Id="rId42" Type="http://schemas.openxmlformats.org/officeDocument/2006/relationships/slideLayout" Target="../slideLayouts/slideLayout267.xml"/><Relationship Id="rId47" Type="http://schemas.openxmlformats.org/officeDocument/2006/relationships/slideLayout" Target="../slideLayouts/slideLayout272.xml"/><Relationship Id="rId50" Type="http://schemas.openxmlformats.org/officeDocument/2006/relationships/slideLayout" Target="../slideLayouts/slideLayout275.xml"/><Relationship Id="rId55" Type="http://schemas.openxmlformats.org/officeDocument/2006/relationships/slideLayout" Target="../slideLayouts/slideLayout280.xml"/><Relationship Id="rId63" Type="http://schemas.openxmlformats.org/officeDocument/2006/relationships/theme" Target="../theme/theme6.xml"/><Relationship Id="rId7" Type="http://schemas.openxmlformats.org/officeDocument/2006/relationships/slideLayout" Target="../slideLayouts/slideLayout232.xml"/><Relationship Id="rId2" Type="http://schemas.openxmlformats.org/officeDocument/2006/relationships/slideLayout" Target="../slideLayouts/slideLayout227.xml"/><Relationship Id="rId16" Type="http://schemas.openxmlformats.org/officeDocument/2006/relationships/slideLayout" Target="../slideLayouts/slideLayout241.xml"/><Relationship Id="rId29" Type="http://schemas.openxmlformats.org/officeDocument/2006/relationships/slideLayout" Target="../slideLayouts/slideLayout254.xml"/><Relationship Id="rId11" Type="http://schemas.openxmlformats.org/officeDocument/2006/relationships/slideLayout" Target="../slideLayouts/slideLayout236.xml"/><Relationship Id="rId24" Type="http://schemas.openxmlformats.org/officeDocument/2006/relationships/slideLayout" Target="../slideLayouts/slideLayout249.xml"/><Relationship Id="rId32" Type="http://schemas.openxmlformats.org/officeDocument/2006/relationships/slideLayout" Target="../slideLayouts/slideLayout257.xml"/><Relationship Id="rId37" Type="http://schemas.openxmlformats.org/officeDocument/2006/relationships/slideLayout" Target="../slideLayouts/slideLayout262.xml"/><Relationship Id="rId40" Type="http://schemas.openxmlformats.org/officeDocument/2006/relationships/slideLayout" Target="../slideLayouts/slideLayout265.xml"/><Relationship Id="rId45" Type="http://schemas.openxmlformats.org/officeDocument/2006/relationships/slideLayout" Target="../slideLayouts/slideLayout270.xml"/><Relationship Id="rId53" Type="http://schemas.openxmlformats.org/officeDocument/2006/relationships/slideLayout" Target="../slideLayouts/slideLayout278.xml"/><Relationship Id="rId58" Type="http://schemas.openxmlformats.org/officeDocument/2006/relationships/slideLayout" Target="../slideLayouts/slideLayout283.xml"/><Relationship Id="rId66" Type="http://schemas.openxmlformats.org/officeDocument/2006/relationships/oleObject" Target="../embeddings/oleObject3.bin"/><Relationship Id="rId5" Type="http://schemas.openxmlformats.org/officeDocument/2006/relationships/slideLayout" Target="../slideLayouts/slideLayout230.xml"/><Relationship Id="rId61" Type="http://schemas.openxmlformats.org/officeDocument/2006/relationships/slideLayout" Target="../slideLayouts/slideLayout286.xml"/><Relationship Id="rId19" Type="http://schemas.openxmlformats.org/officeDocument/2006/relationships/slideLayout" Target="../slideLayouts/slideLayout244.xml"/><Relationship Id="rId14" Type="http://schemas.openxmlformats.org/officeDocument/2006/relationships/slideLayout" Target="../slideLayouts/slideLayout239.xml"/><Relationship Id="rId22" Type="http://schemas.openxmlformats.org/officeDocument/2006/relationships/slideLayout" Target="../slideLayouts/slideLayout247.xml"/><Relationship Id="rId27" Type="http://schemas.openxmlformats.org/officeDocument/2006/relationships/slideLayout" Target="../slideLayouts/slideLayout252.xml"/><Relationship Id="rId30" Type="http://schemas.openxmlformats.org/officeDocument/2006/relationships/slideLayout" Target="../slideLayouts/slideLayout255.xml"/><Relationship Id="rId35" Type="http://schemas.openxmlformats.org/officeDocument/2006/relationships/slideLayout" Target="../slideLayouts/slideLayout260.xml"/><Relationship Id="rId43" Type="http://schemas.openxmlformats.org/officeDocument/2006/relationships/slideLayout" Target="../slideLayouts/slideLayout268.xml"/><Relationship Id="rId48" Type="http://schemas.openxmlformats.org/officeDocument/2006/relationships/slideLayout" Target="../slideLayouts/slideLayout273.xml"/><Relationship Id="rId56" Type="http://schemas.openxmlformats.org/officeDocument/2006/relationships/slideLayout" Target="../slideLayouts/slideLayout281.xml"/><Relationship Id="rId64" Type="http://schemas.openxmlformats.org/officeDocument/2006/relationships/vmlDrawing" Target="../drawings/vmlDrawing3.vml"/><Relationship Id="rId8" Type="http://schemas.openxmlformats.org/officeDocument/2006/relationships/slideLayout" Target="../slideLayouts/slideLayout233.xml"/><Relationship Id="rId51" Type="http://schemas.openxmlformats.org/officeDocument/2006/relationships/slideLayout" Target="../slideLayouts/slideLayout276.xml"/><Relationship Id="rId3" Type="http://schemas.openxmlformats.org/officeDocument/2006/relationships/slideLayout" Target="../slideLayouts/slideLayout228.xml"/><Relationship Id="rId12" Type="http://schemas.openxmlformats.org/officeDocument/2006/relationships/slideLayout" Target="../slideLayouts/slideLayout237.xml"/><Relationship Id="rId17" Type="http://schemas.openxmlformats.org/officeDocument/2006/relationships/slideLayout" Target="../slideLayouts/slideLayout242.xml"/><Relationship Id="rId25" Type="http://schemas.openxmlformats.org/officeDocument/2006/relationships/slideLayout" Target="../slideLayouts/slideLayout250.xml"/><Relationship Id="rId33" Type="http://schemas.openxmlformats.org/officeDocument/2006/relationships/slideLayout" Target="../slideLayouts/slideLayout258.xml"/><Relationship Id="rId38" Type="http://schemas.openxmlformats.org/officeDocument/2006/relationships/slideLayout" Target="../slideLayouts/slideLayout263.xml"/><Relationship Id="rId46" Type="http://schemas.openxmlformats.org/officeDocument/2006/relationships/slideLayout" Target="../slideLayouts/slideLayout271.xml"/><Relationship Id="rId59" Type="http://schemas.openxmlformats.org/officeDocument/2006/relationships/slideLayout" Target="../slideLayouts/slideLayout284.xml"/><Relationship Id="rId67" Type="http://schemas.openxmlformats.org/officeDocument/2006/relationships/image" Target="../media/image20.emf"/><Relationship Id="rId20" Type="http://schemas.openxmlformats.org/officeDocument/2006/relationships/slideLayout" Target="../slideLayouts/slideLayout245.xml"/><Relationship Id="rId41" Type="http://schemas.openxmlformats.org/officeDocument/2006/relationships/slideLayout" Target="../slideLayouts/slideLayout266.xml"/><Relationship Id="rId54" Type="http://schemas.openxmlformats.org/officeDocument/2006/relationships/slideLayout" Target="../slideLayouts/slideLayout279.xml"/><Relationship Id="rId62" Type="http://schemas.openxmlformats.org/officeDocument/2006/relationships/slideLayout" Target="../slideLayouts/slideLayout287.xml"/><Relationship Id="rId1" Type="http://schemas.openxmlformats.org/officeDocument/2006/relationships/slideLayout" Target="../slideLayouts/slideLayout226.xml"/><Relationship Id="rId6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0.xml"/><Relationship Id="rId23" Type="http://schemas.openxmlformats.org/officeDocument/2006/relationships/slideLayout" Target="../slideLayouts/slideLayout248.xml"/><Relationship Id="rId28" Type="http://schemas.openxmlformats.org/officeDocument/2006/relationships/slideLayout" Target="../slideLayouts/slideLayout253.xml"/><Relationship Id="rId36" Type="http://schemas.openxmlformats.org/officeDocument/2006/relationships/slideLayout" Target="../slideLayouts/slideLayout261.xml"/><Relationship Id="rId49" Type="http://schemas.openxmlformats.org/officeDocument/2006/relationships/slideLayout" Target="../slideLayouts/slideLayout274.xml"/><Relationship Id="rId57" Type="http://schemas.openxmlformats.org/officeDocument/2006/relationships/slideLayout" Target="../slideLayouts/slideLayout282.xml"/><Relationship Id="rId10" Type="http://schemas.openxmlformats.org/officeDocument/2006/relationships/slideLayout" Target="../slideLayouts/slideLayout235.xml"/><Relationship Id="rId31" Type="http://schemas.openxmlformats.org/officeDocument/2006/relationships/slideLayout" Target="../slideLayouts/slideLayout256.xml"/><Relationship Id="rId44" Type="http://schemas.openxmlformats.org/officeDocument/2006/relationships/slideLayout" Target="../slideLayouts/slideLayout269.xml"/><Relationship Id="rId52" Type="http://schemas.openxmlformats.org/officeDocument/2006/relationships/slideLayout" Target="../slideLayouts/slideLayout277.xml"/><Relationship Id="rId60" Type="http://schemas.openxmlformats.org/officeDocument/2006/relationships/slideLayout" Target="../slideLayouts/slideLayout285.xml"/><Relationship Id="rId65" Type="http://schemas.openxmlformats.org/officeDocument/2006/relationships/tags" Target="../tags/tag3.xml"/><Relationship Id="rId4" Type="http://schemas.openxmlformats.org/officeDocument/2006/relationships/slideLayout" Target="../slideLayouts/slideLayout229.xml"/><Relationship Id="rId9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8.xml"/><Relationship Id="rId18" Type="http://schemas.openxmlformats.org/officeDocument/2006/relationships/slideLayout" Target="../slideLayouts/slideLayout243.xml"/><Relationship Id="rId39" Type="http://schemas.openxmlformats.org/officeDocument/2006/relationships/slideLayout" Target="../slideLayouts/slideLayout264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0.xml"/><Relationship Id="rId18" Type="http://schemas.openxmlformats.org/officeDocument/2006/relationships/slideLayout" Target="../slideLayouts/slideLayout305.xml"/><Relationship Id="rId26" Type="http://schemas.openxmlformats.org/officeDocument/2006/relationships/slideLayout" Target="../slideLayouts/slideLayout313.xml"/><Relationship Id="rId39" Type="http://schemas.openxmlformats.org/officeDocument/2006/relationships/slideLayout" Target="../slideLayouts/slideLayout326.xml"/><Relationship Id="rId21" Type="http://schemas.openxmlformats.org/officeDocument/2006/relationships/slideLayout" Target="../slideLayouts/slideLayout308.xml"/><Relationship Id="rId34" Type="http://schemas.openxmlformats.org/officeDocument/2006/relationships/slideLayout" Target="../slideLayouts/slideLayout321.xml"/><Relationship Id="rId42" Type="http://schemas.openxmlformats.org/officeDocument/2006/relationships/slideLayout" Target="../slideLayouts/slideLayout329.xml"/><Relationship Id="rId47" Type="http://schemas.openxmlformats.org/officeDocument/2006/relationships/slideLayout" Target="../slideLayouts/slideLayout334.xml"/><Relationship Id="rId50" Type="http://schemas.openxmlformats.org/officeDocument/2006/relationships/slideLayout" Target="../slideLayouts/slideLayout337.xml"/><Relationship Id="rId55" Type="http://schemas.openxmlformats.org/officeDocument/2006/relationships/slideLayout" Target="../slideLayouts/slideLayout342.xml"/><Relationship Id="rId63" Type="http://schemas.openxmlformats.org/officeDocument/2006/relationships/slideLayout" Target="../slideLayouts/slideLayout350.xml"/><Relationship Id="rId7" Type="http://schemas.openxmlformats.org/officeDocument/2006/relationships/slideLayout" Target="../slideLayouts/slideLayout294.xml"/><Relationship Id="rId2" Type="http://schemas.openxmlformats.org/officeDocument/2006/relationships/slideLayout" Target="../slideLayouts/slideLayout289.xml"/><Relationship Id="rId16" Type="http://schemas.openxmlformats.org/officeDocument/2006/relationships/slideLayout" Target="../slideLayouts/slideLayout303.xml"/><Relationship Id="rId29" Type="http://schemas.openxmlformats.org/officeDocument/2006/relationships/slideLayout" Target="../slideLayouts/slideLayout316.xml"/><Relationship Id="rId11" Type="http://schemas.openxmlformats.org/officeDocument/2006/relationships/slideLayout" Target="../slideLayouts/slideLayout298.xml"/><Relationship Id="rId24" Type="http://schemas.openxmlformats.org/officeDocument/2006/relationships/slideLayout" Target="../slideLayouts/slideLayout311.xml"/><Relationship Id="rId32" Type="http://schemas.openxmlformats.org/officeDocument/2006/relationships/slideLayout" Target="../slideLayouts/slideLayout319.xml"/><Relationship Id="rId37" Type="http://schemas.openxmlformats.org/officeDocument/2006/relationships/slideLayout" Target="../slideLayouts/slideLayout324.xml"/><Relationship Id="rId40" Type="http://schemas.openxmlformats.org/officeDocument/2006/relationships/slideLayout" Target="../slideLayouts/slideLayout327.xml"/><Relationship Id="rId45" Type="http://schemas.openxmlformats.org/officeDocument/2006/relationships/slideLayout" Target="../slideLayouts/slideLayout332.xml"/><Relationship Id="rId53" Type="http://schemas.openxmlformats.org/officeDocument/2006/relationships/slideLayout" Target="../slideLayouts/slideLayout340.xml"/><Relationship Id="rId58" Type="http://schemas.openxmlformats.org/officeDocument/2006/relationships/slideLayout" Target="../slideLayouts/slideLayout345.xml"/><Relationship Id="rId5" Type="http://schemas.openxmlformats.org/officeDocument/2006/relationships/slideLayout" Target="../slideLayouts/slideLayout292.xml"/><Relationship Id="rId61" Type="http://schemas.openxmlformats.org/officeDocument/2006/relationships/slideLayout" Target="../slideLayouts/slideLayout348.xml"/><Relationship Id="rId19" Type="http://schemas.openxmlformats.org/officeDocument/2006/relationships/slideLayout" Target="../slideLayouts/slideLayout306.xml"/><Relationship Id="rId14" Type="http://schemas.openxmlformats.org/officeDocument/2006/relationships/slideLayout" Target="../slideLayouts/slideLayout301.xml"/><Relationship Id="rId22" Type="http://schemas.openxmlformats.org/officeDocument/2006/relationships/slideLayout" Target="../slideLayouts/slideLayout309.xml"/><Relationship Id="rId27" Type="http://schemas.openxmlformats.org/officeDocument/2006/relationships/slideLayout" Target="../slideLayouts/slideLayout314.xml"/><Relationship Id="rId30" Type="http://schemas.openxmlformats.org/officeDocument/2006/relationships/slideLayout" Target="../slideLayouts/slideLayout317.xml"/><Relationship Id="rId35" Type="http://schemas.openxmlformats.org/officeDocument/2006/relationships/slideLayout" Target="../slideLayouts/slideLayout322.xml"/><Relationship Id="rId43" Type="http://schemas.openxmlformats.org/officeDocument/2006/relationships/slideLayout" Target="../slideLayouts/slideLayout330.xml"/><Relationship Id="rId48" Type="http://schemas.openxmlformats.org/officeDocument/2006/relationships/slideLayout" Target="../slideLayouts/slideLayout335.xml"/><Relationship Id="rId56" Type="http://schemas.openxmlformats.org/officeDocument/2006/relationships/slideLayout" Target="../slideLayouts/slideLayout343.xml"/><Relationship Id="rId64" Type="http://schemas.openxmlformats.org/officeDocument/2006/relationships/theme" Target="../theme/theme7.xml"/><Relationship Id="rId8" Type="http://schemas.openxmlformats.org/officeDocument/2006/relationships/slideLayout" Target="../slideLayouts/slideLayout295.xml"/><Relationship Id="rId51" Type="http://schemas.openxmlformats.org/officeDocument/2006/relationships/slideLayout" Target="../slideLayouts/slideLayout338.xml"/><Relationship Id="rId3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9.xml"/><Relationship Id="rId17" Type="http://schemas.openxmlformats.org/officeDocument/2006/relationships/slideLayout" Target="../slideLayouts/slideLayout304.xml"/><Relationship Id="rId25" Type="http://schemas.openxmlformats.org/officeDocument/2006/relationships/slideLayout" Target="../slideLayouts/slideLayout312.xml"/><Relationship Id="rId33" Type="http://schemas.openxmlformats.org/officeDocument/2006/relationships/slideLayout" Target="../slideLayouts/slideLayout320.xml"/><Relationship Id="rId38" Type="http://schemas.openxmlformats.org/officeDocument/2006/relationships/slideLayout" Target="../slideLayouts/slideLayout325.xml"/><Relationship Id="rId46" Type="http://schemas.openxmlformats.org/officeDocument/2006/relationships/slideLayout" Target="../slideLayouts/slideLayout333.xml"/><Relationship Id="rId59" Type="http://schemas.openxmlformats.org/officeDocument/2006/relationships/slideLayout" Target="../slideLayouts/slideLayout346.xml"/><Relationship Id="rId20" Type="http://schemas.openxmlformats.org/officeDocument/2006/relationships/slideLayout" Target="../slideLayouts/slideLayout307.xml"/><Relationship Id="rId41" Type="http://schemas.openxmlformats.org/officeDocument/2006/relationships/slideLayout" Target="../slideLayouts/slideLayout328.xml"/><Relationship Id="rId54" Type="http://schemas.openxmlformats.org/officeDocument/2006/relationships/slideLayout" Target="../slideLayouts/slideLayout341.xml"/><Relationship Id="rId62" Type="http://schemas.openxmlformats.org/officeDocument/2006/relationships/slideLayout" Target="../slideLayouts/slideLayout34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5" Type="http://schemas.openxmlformats.org/officeDocument/2006/relationships/slideLayout" Target="../slideLayouts/slideLayout302.xml"/><Relationship Id="rId23" Type="http://schemas.openxmlformats.org/officeDocument/2006/relationships/slideLayout" Target="../slideLayouts/slideLayout310.xml"/><Relationship Id="rId28" Type="http://schemas.openxmlformats.org/officeDocument/2006/relationships/slideLayout" Target="../slideLayouts/slideLayout315.xml"/><Relationship Id="rId36" Type="http://schemas.openxmlformats.org/officeDocument/2006/relationships/slideLayout" Target="../slideLayouts/slideLayout323.xml"/><Relationship Id="rId49" Type="http://schemas.openxmlformats.org/officeDocument/2006/relationships/slideLayout" Target="../slideLayouts/slideLayout336.xml"/><Relationship Id="rId57" Type="http://schemas.openxmlformats.org/officeDocument/2006/relationships/slideLayout" Target="../slideLayouts/slideLayout344.xml"/><Relationship Id="rId10" Type="http://schemas.openxmlformats.org/officeDocument/2006/relationships/slideLayout" Target="../slideLayouts/slideLayout297.xml"/><Relationship Id="rId31" Type="http://schemas.openxmlformats.org/officeDocument/2006/relationships/slideLayout" Target="../slideLayouts/slideLayout318.xml"/><Relationship Id="rId44" Type="http://schemas.openxmlformats.org/officeDocument/2006/relationships/slideLayout" Target="../slideLayouts/slideLayout331.xml"/><Relationship Id="rId52" Type="http://schemas.openxmlformats.org/officeDocument/2006/relationships/slideLayout" Target="../slideLayouts/slideLayout339.xml"/><Relationship Id="rId60" Type="http://schemas.openxmlformats.org/officeDocument/2006/relationships/slideLayout" Target="../slideLayouts/slideLayout34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8.xml"/><Relationship Id="rId3" Type="http://schemas.openxmlformats.org/officeDocument/2006/relationships/slideLayout" Target="../slideLayouts/slideLayout353.xml"/><Relationship Id="rId7" Type="http://schemas.openxmlformats.org/officeDocument/2006/relationships/slideLayout" Target="../slideLayouts/slideLayout357.xml"/><Relationship Id="rId2" Type="http://schemas.openxmlformats.org/officeDocument/2006/relationships/slideLayout" Target="../slideLayouts/slideLayout352.xml"/><Relationship Id="rId1" Type="http://schemas.openxmlformats.org/officeDocument/2006/relationships/slideLayout" Target="../slideLayouts/slideLayout351.xml"/><Relationship Id="rId6" Type="http://schemas.openxmlformats.org/officeDocument/2006/relationships/slideLayout" Target="../slideLayouts/slideLayout356.xml"/><Relationship Id="rId5" Type="http://schemas.openxmlformats.org/officeDocument/2006/relationships/slideLayout" Target="../slideLayouts/slideLayout355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354.xml"/><Relationship Id="rId9" Type="http://schemas.openxmlformats.org/officeDocument/2006/relationships/slideLayout" Target="../slideLayouts/slideLayout35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7.xml"/><Relationship Id="rId3" Type="http://schemas.openxmlformats.org/officeDocument/2006/relationships/slideLayout" Target="../slideLayouts/slideLayout362.xml"/><Relationship Id="rId7" Type="http://schemas.openxmlformats.org/officeDocument/2006/relationships/slideLayout" Target="../slideLayouts/slideLayout366.xml"/><Relationship Id="rId2" Type="http://schemas.openxmlformats.org/officeDocument/2006/relationships/slideLayout" Target="../slideLayouts/slideLayout361.xml"/><Relationship Id="rId1" Type="http://schemas.openxmlformats.org/officeDocument/2006/relationships/slideLayout" Target="../slideLayouts/slideLayout360.xml"/><Relationship Id="rId6" Type="http://schemas.openxmlformats.org/officeDocument/2006/relationships/slideLayout" Target="../slideLayouts/slideLayout365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364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363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039289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4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1415251" y="6279515"/>
            <a:ext cx="776749" cy="329299"/>
          </a:xfrm>
          <a:prstGeom prst="rect">
            <a:avLst/>
          </a:prstGeom>
          <a:gradFill>
            <a:gsLst>
              <a:gs pos="0">
                <a:srgbClr val="E30613"/>
              </a:gs>
              <a:gs pos="45000">
                <a:srgbClr val="721C58"/>
              </a:gs>
              <a:gs pos="24000">
                <a:srgbClr val="98192C"/>
              </a:gs>
              <a:gs pos="74000">
                <a:srgbClr val="1E9A92"/>
              </a:gs>
              <a:gs pos="100000">
                <a:srgbClr val="223A89">
                  <a:alpha val="99000"/>
                </a:srgbClr>
              </a:gs>
            </a:gsLst>
            <a:lin ang="2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717635"/>
            <a:ext cx="8291384" cy="122738"/>
          </a:xfrm>
          <a:prstGeom prst="rect">
            <a:avLst/>
          </a:prstGeom>
          <a:gradFill>
            <a:gsLst>
              <a:gs pos="0">
                <a:srgbClr val="E30613"/>
              </a:gs>
              <a:gs pos="45000">
                <a:srgbClr val="721C58"/>
              </a:gs>
              <a:gs pos="24000">
                <a:srgbClr val="98192C"/>
              </a:gs>
              <a:gs pos="74000">
                <a:srgbClr val="1E9A92"/>
              </a:gs>
              <a:gs pos="100000">
                <a:srgbClr val="223A89">
                  <a:alpha val="99000"/>
                </a:srgbClr>
              </a:gs>
            </a:gsLst>
            <a:lin ang="2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670" y="779004"/>
            <a:ext cx="1357162" cy="714296"/>
          </a:xfrm>
          <a:prstGeom prst="rect">
            <a:avLst/>
          </a:prstGeom>
        </p:spPr>
      </p:pic>
      <p:sp>
        <p:nvSpPr>
          <p:cNvPr id="3" name="ZoneTexte 2"/>
          <p:cNvSpPr txBox="1"/>
          <p:nvPr userDrawn="1"/>
        </p:nvSpPr>
        <p:spPr>
          <a:xfrm>
            <a:off x="5661829" y="6440511"/>
            <a:ext cx="10748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err="1"/>
              <a:t>Restricted</a:t>
            </a:r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D92B086-1F6D-4FB7-9B9B-8752AC5A24F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3042" y="6043"/>
            <a:ext cx="1357162" cy="859984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3F79809C-083B-4FB0-B512-02FF3BD9DAD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4883" y="140725"/>
            <a:ext cx="1844660" cy="1276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180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  <p:sldLayoutId id="2147484118" r:id="rId4"/>
    <p:sldLayoutId id="2147484119" r:id="rId5"/>
    <p:sldLayoutId id="2147484120" r:id="rId6"/>
    <p:sldLayoutId id="2147484121" r:id="rId7"/>
    <p:sldLayoutId id="2147484122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58641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951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112019-6004-43D7-874B-FE0B0AE56C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327837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7" name="think-cell Slide" r:id="rId68" imgW="592" imgH="595" progId="TCLayout.ActiveDocument.1">
                  <p:embed/>
                </p:oleObj>
              </mc:Choice>
              <mc:Fallback>
                <p:oleObj name="think-cell Slide" r:id="rId68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112019-6004-43D7-874B-FE0B0AE56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16614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  <p:sldLayoutId id="2147483771" r:id="rId24"/>
    <p:sldLayoutId id="2147483772" r:id="rId25"/>
    <p:sldLayoutId id="2147483773" r:id="rId26"/>
    <p:sldLayoutId id="2147483774" r:id="rId27"/>
    <p:sldLayoutId id="2147483775" r:id="rId28"/>
    <p:sldLayoutId id="2147483776" r:id="rId29"/>
    <p:sldLayoutId id="2147483777" r:id="rId30"/>
    <p:sldLayoutId id="2147483778" r:id="rId31"/>
    <p:sldLayoutId id="2147483779" r:id="rId32"/>
    <p:sldLayoutId id="2147483780" r:id="rId33"/>
    <p:sldLayoutId id="2147483781" r:id="rId34"/>
    <p:sldLayoutId id="2147483782" r:id="rId35"/>
    <p:sldLayoutId id="2147483783" r:id="rId36"/>
    <p:sldLayoutId id="2147483784" r:id="rId37"/>
    <p:sldLayoutId id="2147483785" r:id="rId38"/>
    <p:sldLayoutId id="2147483786" r:id="rId39"/>
    <p:sldLayoutId id="2147483787" r:id="rId40"/>
    <p:sldLayoutId id="2147483788" r:id="rId41"/>
    <p:sldLayoutId id="2147483789" r:id="rId42"/>
    <p:sldLayoutId id="2147483790" r:id="rId43"/>
    <p:sldLayoutId id="2147483791" r:id="rId44"/>
    <p:sldLayoutId id="2147483792" r:id="rId45"/>
    <p:sldLayoutId id="2147483793" r:id="rId46"/>
    <p:sldLayoutId id="2147483794" r:id="rId47"/>
    <p:sldLayoutId id="2147483795" r:id="rId48"/>
    <p:sldLayoutId id="2147483796" r:id="rId49"/>
    <p:sldLayoutId id="2147483797" r:id="rId50"/>
    <p:sldLayoutId id="2147483798" r:id="rId51"/>
    <p:sldLayoutId id="2147483799" r:id="rId52"/>
    <p:sldLayoutId id="2147483800" r:id="rId53"/>
    <p:sldLayoutId id="2147483801" r:id="rId54"/>
    <p:sldLayoutId id="2147483802" r:id="rId55"/>
    <p:sldLayoutId id="2147483803" r:id="rId56"/>
    <p:sldLayoutId id="2147483804" r:id="rId57"/>
    <p:sldLayoutId id="2147483805" r:id="rId58"/>
    <p:sldLayoutId id="2147483854" r:id="rId59"/>
    <p:sldLayoutId id="2147483855" r:id="rId60"/>
    <p:sldLayoutId id="2147483926" r:id="rId61"/>
    <p:sldLayoutId id="2147483927" r:id="rId62"/>
    <p:sldLayoutId id="2147484016" r:id="rId63"/>
    <p:sldLayoutId id="2147483806" r:id="rId6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024B166-4E50-4F0A-9D05-016CAE1CC4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697" name="think-cell Slide" r:id="rId69" imgW="592" imgH="595" progId="TCLayout.ActiveDocument.1">
                  <p:embed/>
                </p:oleObj>
              </mc:Choice>
              <mc:Fallback>
                <p:oleObj name="think-cell Slide" r:id="rId69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024B166-4E50-4F0A-9D05-016CAE1C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26360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  <p:sldLayoutId id="2147483825" r:id="rId15"/>
    <p:sldLayoutId id="2147483826" r:id="rId16"/>
    <p:sldLayoutId id="2147483827" r:id="rId17"/>
    <p:sldLayoutId id="2147483828" r:id="rId18"/>
    <p:sldLayoutId id="2147483829" r:id="rId19"/>
    <p:sldLayoutId id="2147483830" r:id="rId20"/>
    <p:sldLayoutId id="2147483831" r:id="rId21"/>
    <p:sldLayoutId id="2147483832" r:id="rId22"/>
    <p:sldLayoutId id="2147483833" r:id="rId23"/>
    <p:sldLayoutId id="2147483834" r:id="rId24"/>
    <p:sldLayoutId id="2147483835" r:id="rId25"/>
    <p:sldLayoutId id="2147483836" r:id="rId26"/>
    <p:sldLayoutId id="2147483837" r:id="rId27"/>
    <p:sldLayoutId id="2147483838" r:id="rId28"/>
    <p:sldLayoutId id="2147483839" r:id="rId29"/>
    <p:sldLayoutId id="2147483840" r:id="rId30"/>
    <p:sldLayoutId id="2147483841" r:id="rId31"/>
    <p:sldLayoutId id="2147483842" r:id="rId32"/>
    <p:sldLayoutId id="2147483843" r:id="rId33"/>
    <p:sldLayoutId id="2147483844" r:id="rId34"/>
    <p:sldLayoutId id="2147483845" r:id="rId35"/>
    <p:sldLayoutId id="2147483846" r:id="rId36"/>
    <p:sldLayoutId id="2147483847" r:id="rId37"/>
    <p:sldLayoutId id="2147483848" r:id="rId38"/>
    <p:sldLayoutId id="2147483849" r:id="rId39"/>
    <p:sldLayoutId id="2147483850" r:id="rId40"/>
    <p:sldLayoutId id="2147483851" r:id="rId41"/>
    <p:sldLayoutId id="2147483852" r:id="rId42"/>
    <p:sldLayoutId id="2147484079" r:id="rId43"/>
    <p:sldLayoutId id="2147484080" r:id="rId44"/>
    <p:sldLayoutId id="2147484081" r:id="rId45"/>
    <p:sldLayoutId id="2147483856" r:id="rId46"/>
    <p:sldLayoutId id="2147483857" r:id="rId47"/>
    <p:sldLayoutId id="2147483858" r:id="rId48"/>
    <p:sldLayoutId id="2147483859" r:id="rId49"/>
    <p:sldLayoutId id="2147483860" r:id="rId50"/>
    <p:sldLayoutId id="2147483861" r:id="rId51"/>
    <p:sldLayoutId id="2147483862" r:id="rId52"/>
    <p:sldLayoutId id="2147483863" r:id="rId53"/>
    <p:sldLayoutId id="2147483864" r:id="rId54"/>
    <p:sldLayoutId id="2147483865" r:id="rId55"/>
    <p:sldLayoutId id="2147483866" r:id="rId56"/>
    <p:sldLayoutId id="2147483867" r:id="rId57"/>
    <p:sldLayoutId id="2147483868" r:id="rId58"/>
    <p:sldLayoutId id="2147483869" r:id="rId59"/>
    <p:sldLayoutId id="2147483870" r:id="rId60"/>
    <p:sldLayoutId id="2147483871" r:id="rId61"/>
    <p:sldLayoutId id="2147483872" r:id="rId62"/>
    <p:sldLayoutId id="2147483873" r:id="rId63"/>
    <p:sldLayoutId id="2147483874" r:id="rId64"/>
    <p:sldLayoutId id="2147483875" r:id="rId6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4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46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02468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rgbClr val="003764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1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646567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112019-6004-43D7-874B-FE0B0AE56C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45" name="think-cell Slide" r:id="rId66" imgW="592" imgH="595" progId="TCLayout.ActiveDocument.1">
                  <p:embed/>
                </p:oleObj>
              </mc:Choice>
              <mc:Fallback>
                <p:oleObj name="think-cell Slide" r:id="rId66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112019-6004-43D7-874B-FE0B0AE56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950685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  <p:sldLayoutId id="2147483900" r:id="rId13"/>
    <p:sldLayoutId id="2147483901" r:id="rId14"/>
    <p:sldLayoutId id="2147483902" r:id="rId15"/>
    <p:sldLayoutId id="2147483903" r:id="rId16"/>
    <p:sldLayoutId id="2147483904" r:id="rId17"/>
    <p:sldLayoutId id="2147483905" r:id="rId18"/>
    <p:sldLayoutId id="2147483906" r:id="rId19"/>
    <p:sldLayoutId id="2147483907" r:id="rId20"/>
    <p:sldLayoutId id="2147483908" r:id="rId21"/>
    <p:sldLayoutId id="2147483909" r:id="rId22"/>
    <p:sldLayoutId id="2147483910" r:id="rId23"/>
    <p:sldLayoutId id="2147483911" r:id="rId24"/>
    <p:sldLayoutId id="2147483912" r:id="rId25"/>
    <p:sldLayoutId id="2147483913" r:id="rId26"/>
    <p:sldLayoutId id="2147483914" r:id="rId27"/>
    <p:sldLayoutId id="2147483915" r:id="rId28"/>
    <p:sldLayoutId id="2147483916" r:id="rId29"/>
    <p:sldLayoutId id="2147483917" r:id="rId30"/>
    <p:sldLayoutId id="2147483918" r:id="rId31"/>
    <p:sldLayoutId id="2147483919" r:id="rId32"/>
    <p:sldLayoutId id="2147483920" r:id="rId33"/>
    <p:sldLayoutId id="2147483921" r:id="rId34"/>
    <p:sldLayoutId id="2147483922" r:id="rId35"/>
    <p:sldLayoutId id="2147483923" r:id="rId36"/>
    <p:sldLayoutId id="2147483924" r:id="rId37"/>
    <p:sldLayoutId id="2147483925" r:id="rId38"/>
    <p:sldLayoutId id="2147484082" r:id="rId39"/>
    <p:sldLayoutId id="2147484083" r:id="rId40"/>
    <p:sldLayoutId id="2147483928" r:id="rId41"/>
    <p:sldLayoutId id="2147483929" r:id="rId42"/>
    <p:sldLayoutId id="2147483930" r:id="rId43"/>
    <p:sldLayoutId id="2147483931" r:id="rId44"/>
    <p:sldLayoutId id="2147483932" r:id="rId45"/>
    <p:sldLayoutId id="2147483933" r:id="rId46"/>
    <p:sldLayoutId id="2147483934" r:id="rId47"/>
    <p:sldLayoutId id="2147483935" r:id="rId48"/>
    <p:sldLayoutId id="2147483936" r:id="rId49"/>
    <p:sldLayoutId id="2147483937" r:id="rId50"/>
    <p:sldLayoutId id="2147483938" r:id="rId51"/>
    <p:sldLayoutId id="2147483939" r:id="rId52"/>
    <p:sldLayoutId id="2147483940" r:id="rId53"/>
    <p:sldLayoutId id="2147483941" r:id="rId54"/>
    <p:sldLayoutId id="2147483942" r:id="rId55"/>
    <p:sldLayoutId id="2147483943" r:id="rId56"/>
    <p:sldLayoutId id="2147483944" r:id="rId57"/>
    <p:sldLayoutId id="2147483945" r:id="rId58"/>
    <p:sldLayoutId id="2147483946" r:id="rId59"/>
    <p:sldLayoutId id="2147483948" r:id="rId60"/>
    <p:sldLayoutId id="2147483949" r:id="rId61"/>
    <p:sldLayoutId id="2147483950" r:id="rId6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401" y="6224481"/>
            <a:ext cx="637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4"/>
                </a:solidFill>
                <a:latin typeface="EC Square Sans Pro" panose="020B0506040000020004" pitchFamily="34" charset="0"/>
              </a:defRPr>
            </a:lvl1pPr>
          </a:lstStyle>
          <a:p>
            <a:fld id="{9E561190-0011-472E-9FCA-1D7032DB7E1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Placeholder 14"/>
          <p:cNvSpPr>
            <a:spLocks noGrp="1"/>
          </p:cNvSpPr>
          <p:nvPr>
            <p:ph type="title"/>
          </p:nvPr>
        </p:nvSpPr>
        <p:spPr>
          <a:xfrm>
            <a:off x="838200" y="687704"/>
            <a:ext cx="10515600" cy="35643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55696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3973" r:id="rId14"/>
    <p:sldLayoutId id="2147483974" r:id="rId15"/>
    <p:sldLayoutId id="2147483975" r:id="rId16"/>
    <p:sldLayoutId id="2147483976" r:id="rId17"/>
    <p:sldLayoutId id="2147483977" r:id="rId18"/>
    <p:sldLayoutId id="2147483978" r:id="rId19"/>
    <p:sldLayoutId id="2147483979" r:id="rId20"/>
    <p:sldLayoutId id="2147483980" r:id="rId21"/>
    <p:sldLayoutId id="2147483981" r:id="rId22"/>
    <p:sldLayoutId id="2147483982" r:id="rId23"/>
    <p:sldLayoutId id="2147483983" r:id="rId24"/>
    <p:sldLayoutId id="2147483984" r:id="rId25"/>
    <p:sldLayoutId id="2147483985" r:id="rId26"/>
    <p:sldLayoutId id="2147483986" r:id="rId27"/>
    <p:sldLayoutId id="2147483987" r:id="rId28"/>
    <p:sldLayoutId id="2147483988" r:id="rId29"/>
    <p:sldLayoutId id="2147483989" r:id="rId30"/>
    <p:sldLayoutId id="2147483990" r:id="rId31"/>
    <p:sldLayoutId id="2147483991" r:id="rId32"/>
    <p:sldLayoutId id="2147483992" r:id="rId33"/>
    <p:sldLayoutId id="2147483993" r:id="rId34"/>
    <p:sldLayoutId id="2147483994" r:id="rId35"/>
    <p:sldLayoutId id="2147483995" r:id="rId36"/>
    <p:sldLayoutId id="2147483996" r:id="rId37"/>
    <p:sldLayoutId id="2147483997" r:id="rId38"/>
    <p:sldLayoutId id="2147483998" r:id="rId39"/>
    <p:sldLayoutId id="2147483999" r:id="rId40"/>
    <p:sldLayoutId id="2147484000" r:id="rId41"/>
    <p:sldLayoutId id="2147484001" r:id="rId42"/>
    <p:sldLayoutId id="2147484002" r:id="rId43"/>
    <p:sldLayoutId id="2147484003" r:id="rId44"/>
    <p:sldLayoutId id="2147484004" r:id="rId45"/>
    <p:sldLayoutId id="2147484005" r:id="rId46"/>
    <p:sldLayoutId id="2147484006" r:id="rId47"/>
    <p:sldLayoutId id="2147484007" r:id="rId48"/>
    <p:sldLayoutId id="2147484008" r:id="rId49"/>
    <p:sldLayoutId id="2147484009" r:id="rId50"/>
    <p:sldLayoutId id="2147484010" r:id="rId51"/>
    <p:sldLayoutId id="2147484011" r:id="rId52"/>
    <p:sldLayoutId id="2147484012" r:id="rId53"/>
    <p:sldLayoutId id="2147484013" r:id="rId54"/>
    <p:sldLayoutId id="2147484014" r:id="rId55"/>
    <p:sldLayoutId id="2147484015" r:id="rId56"/>
    <p:sldLayoutId id="2147484084" r:id="rId57"/>
    <p:sldLayoutId id="2147484017" r:id="rId58"/>
    <p:sldLayoutId id="2147484018" r:id="rId59"/>
    <p:sldLayoutId id="2147484019" r:id="rId60"/>
    <p:sldLayoutId id="2147484020" r:id="rId61"/>
    <p:sldLayoutId id="2147484021" r:id="rId62"/>
    <p:sldLayoutId id="2147484022" r:id="rId6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EC Square Sans Pro" panose="020B0506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EC Square Sans Pro" panose="020B0506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663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pos="43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717635"/>
            <a:ext cx="8291384" cy="3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7737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  <p:sldLayoutId id="2147484094" r:id="rId7"/>
    <p:sldLayoutId id="2147484095" r:id="rId8"/>
    <p:sldLayoutId id="2147484096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1415251" y="6279515"/>
            <a:ext cx="776749" cy="329299"/>
          </a:xfrm>
          <a:prstGeom prst="rect">
            <a:avLst/>
          </a:prstGeom>
          <a:gradFill>
            <a:gsLst>
              <a:gs pos="0">
                <a:srgbClr val="E30613"/>
              </a:gs>
              <a:gs pos="45000">
                <a:srgbClr val="721C58"/>
              </a:gs>
              <a:gs pos="24000">
                <a:srgbClr val="98192C"/>
              </a:gs>
              <a:gs pos="74000">
                <a:srgbClr val="1E9A92"/>
              </a:gs>
              <a:gs pos="100000">
                <a:srgbClr val="223A89">
                  <a:alpha val="99000"/>
                </a:srgbClr>
              </a:gs>
            </a:gsLst>
            <a:lin ang="2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717635"/>
            <a:ext cx="8291384" cy="122738"/>
          </a:xfrm>
          <a:prstGeom prst="rect">
            <a:avLst/>
          </a:prstGeom>
          <a:gradFill>
            <a:gsLst>
              <a:gs pos="0">
                <a:srgbClr val="E30613"/>
              </a:gs>
              <a:gs pos="45000">
                <a:srgbClr val="721C58"/>
              </a:gs>
              <a:gs pos="24000">
                <a:srgbClr val="98192C"/>
              </a:gs>
              <a:gs pos="74000">
                <a:srgbClr val="1E9A92"/>
              </a:gs>
              <a:gs pos="100000">
                <a:srgbClr val="223A89">
                  <a:alpha val="99000"/>
                </a:srgbClr>
              </a:gs>
            </a:gsLst>
            <a:lin ang="2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670" y="90357"/>
            <a:ext cx="1357162" cy="714296"/>
          </a:xfrm>
          <a:prstGeom prst="rect">
            <a:avLst/>
          </a:prstGeom>
        </p:spPr>
      </p:pic>
      <p:sp>
        <p:nvSpPr>
          <p:cNvPr id="3" name="ZoneTexte 2"/>
          <p:cNvSpPr txBox="1"/>
          <p:nvPr userDrawn="1"/>
        </p:nvSpPr>
        <p:spPr>
          <a:xfrm>
            <a:off x="5661829" y="6440511"/>
            <a:ext cx="10748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err="1"/>
              <a:t>Restricted</a:t>
            </a:r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D92B086-1F6D-4FB7-9B9B-8752AC5A24F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562" y="0"/>
            <a:ext cx="1357162" cy="85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461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0" r:id="rId1"/>
    <p:sldLayoutId id="2147484101" r:id="rId2"/>
    <p:sldLayoutId id="2147484102" r:id="rId3"/>
    <p:sldLayoutId id="2147484103" r:id="rId4"/>
    <p:sldLayoutId id="2147484104" r:id="rId5"/>
    <p:sldLayoutId id="2147484105" r:id="rId6"/>
    <p:sldLayoutId id="2147484106" r:id="rId7"/>
    <p:sldLayoutId id="2147484107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projectathon.oots-common-services.eu/query/eb/rest/search?queryId=urn:fdc:oots:eb:ebxml-regrep:queries:evidence-types-by-requirement-and-jurisdiction&amp;country-code=SE&amp;requirement-id=https://sr.oots.tech.europa.eu/requirements/1e0372b7-8343-4560-8f84-adb5eec410d6" TargetMode="External"/><Relationship Id="rId3" Type="http://schemas.openxmlformats.org/officeDocument/2006/relationships/slideLayout" Target="../slideLayouts/slideLayout120.xml"/><Relationship Id="rId7" Type="http://schemas.openxmlformats.org/officeDocument/2006/relationships/hyperlink" Target="https://projectathon.oots-common-services.eu/query/eb/rest/search?queryId=urn:fdc:oots:eb:ebxml-regrep:queries:requirements-by-procedure-and-jurisdiction&amp;procedure-id=V1&amp;country-code=SE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2.bin"/><Relationship Id="rId10" Type="http://schemas.openxmlformats.org/officeDocument/2006/relationships/hyperlink" Target="https://projectathon.oots-common-services.eu/query/dsd/rest/search?queryId=urn:fdc:oots:dsd:ebxml-regrep:queries:dataservices-by-evidencetype-and-jurisdiction&amp;country-code=SE&amp;evidence-type-classification=https://sr.oots.tech.europa.eu/evidencetypeclassifications/EU/d080dc98-46ae-4a00-a5f7-b54da000457a&amp;jurisdiction-admin-l2=SE1&amp;evidence-type-id=fa1fdb16-f383-45cb-9e8c-60efad4b253a&amp;jurisdiction-context-id=fab7e562-1c73-44e5-bcae-12f459822dd7" TargetMode="External"/><Relationship Id="rId4" Type="http://schemas.openxmlformats.org/officeDocument/2006/relationships/notesSlide" Target="../notesSlides/notesSlide9.xml"/><Relationship Id="rId9" Type="http://schemas.openxmlformats.org/officeDocument/2006/relationships/hyperlink" Target="https://projectathon.oots-common-services.eu/query/dsd/rest/search?queryId=urn:fdc:oots:dsd:ebxml-regrep:queries:dataservices-by-evidencetype-and-jurisdiction&amp;country-code=SE&amp;evidence-type-classification=https://sr.oots.tech.europa.eu/evidencetypeclassifications/EU/d080dc98-46ae-4a00-a5f7-b54da000457a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EC-OOTS-SUPPORT@ec.europa.eu" TargetMode="External"/><Relationship Id="rId1" Type="http://schemas.openxmlformats.org/officeDocument/2006/relationships/slideLayout" Target="../slideLayouts/slideLayout5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7" Type="http://schemas.openxmlformats.org/officeDocument/2006/relationships/hyperlink" Target="mailto:EC-OOTS-SUPPORT@ec.europa.eu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7" Type="http://schemas.openxmlformats.org/officeDocument/2006/relationships/hyperlink" Target="mailto:EC-OOTS-SUPPORT@ec.europa.eu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7" Type="http://schemas.openxmlformats.org/officeDocument/2006/relationships/hyperlink" Target="https://eceuropaeu.sharepoint.com/:f:/r/teams/GRP-SDGOOTSImplementersspace/Shared%20Documents/OOTS%20Projectathon%20-%20General%20channel/April%20Projectathon%20Sample%20Test%20Data?csf=1&amp;web=1&amp;e=Ztd3Ea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sr.oots.tech.europa.eu/requirements/1e0372b7-8343-4560-8f84-adb5eec410d6" TargetMode="External"/><Relationship Id="rId3" Type="http://schemas.openxmlformats.org/officeDocument/2006/relationships/slideLayout" Target="../slideLayouts/slideLayout120.xml"/><Relationship Id="rId7" Type="http://schemas.openxmlformats.org/officeDocument/2006/relationships/hyperlink" Target="https://ec.europa.eu/digital-building-blocks/wikis/pages/viewpage.action?pageId=643826198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8.xml"/><Relationship Id="rId9" Type="http://schemas.openxmlformats.org/officeDocument/2006/relationships/hyperlink" Target="https://sr.oots.tech.europa.eu/evidencetypeclassifications/EU/d080dc98-46ae-4a00-a5f7-b54da000457a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125808" y="3030469"/>
            <a:ext cx="7679962" cy="1094522"/>
          </a:xfrm>
        </p:spPr>
        <p:txBody>
          <a:bodyPr anchor="ctr"/>
          <a:lstStyle/>
          <a:p>
            <a:pPr>
              <a:spcBef>
                <a:spcPts val="1800"/>
              </a:spcBef>
            </a:pPr>
            <a:r>
              <a:rPr lang="en-GB" sz="3200">
                <a:ea typeface="Verdana" panose="020B0604030504040204" pitchFamily="34" charset="0"/>
                <a:cs typeface="Verdana" panose="020B0604030504040204" pitchFamily="34" charset="0"/>
              </a:rPr>
              <a:t>OOTS April </a:t>
            </a:r>
            <a:r>
              <a:rPr lang="en-GB" sz="3200" err="1">
                <a:ea typeface="Verdana" panose="020B0604030504040204" pitchFamily="34" charset="0"/>
                <a:cs typeface="Verdana" panose="020B0604030504040204" pitchFamily="34" charset="0"/>
              </a:rPr>
              <a:t>Projectathon</a:t>
            </a:r>
            <a:r>
              <a:rPr lang="en-GB" sz="3200">
                <a:ea typeface="Verdana" panose="020B0604030504040204" pitchFamily="34" charset="0"/>
                <a:cs typeface="Verdana" panose="020B0604030504040204" pitchFamily="34" charset="0"/>
              </a:rPr>
              <a:t> Sample Test Data inf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4"/>
          <p:cNvSpPr txBox="1">
            <a:spLocks/>
          </p:cNvSpPr>
          <p:nvPr/>
        </p:nvSpPr>
        <p:spPr bwMode="auto">
          <a:xfrm>
            <a:off x="1034904" y="5765524"/>
            <a:ext cx="2057646" cy="781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Tx/>
              <a:buNone/>
              <a:defRPr sz="2400" b="1" i="0">
                <a:solidFill>
                  <a:srgbClr val="99CC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G GROW</a:t>
            </a:r>
          </a:p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rectorate-General</a:t>
            </a:r>
          </a:p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Internal Market, Industry, Entrepreneurship and SMEs</a:t>
            </a:r>
          </a:p>
        </p:txBody>
      </p:sp>
      <p:sp>
        <p:nvSpPr>
          <p:cNvPr id="9" name="Content Placeholder 4"/>
          <p:cNvSpPr txBox="1">
            <a:spLocks/>
          </p:cNvSpPr>
          <p:nvPr/>
        </p:nvSpPr>
        <p:spPr bwMode="auto">
          <a:xfrm>
            <a:off x="3092550" y="5765524"/>
            <a:ext cx="2057646" cy="781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Tx/>
              <a:buNone/>
              <a:defRPr sz="2400" b="1" i="0">
                <a:solidFill>
                  <a:srgbClr val="99CC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GIT</a:t>
            </a:r>
          </a:p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rectorate-General</a:t>
            </a:r>
          </a:p>
          <a:p>
            <a:pPr marL="96001" marR="0" lvl="0" indent="0" algn="l" defTabSz="24384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Informatics</a:t>
            </a: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1132428" y="4621056"/>
            <a:ext cx="7673342" cy="2985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1125808" y="5415707"/>
            <a:ext cx="7673342" cy="29858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C Square Sans Pro" panose="020B05060400000200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uropean Commiss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62B17AF-438A-4546-96A5-3368CE7271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4904" y="1079860"/>
            <a:ext cx="2371487" cy="1234857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76082D4-0F44-F978-607D-48AE39A3DC26}"/>
              </a:ext>
            </a:extLst>
          </p:cNvPr>
          <p:cNvSpPr txBox="1">
            <a:spLocks/>
          </p:cNvSpPr>
          <p:nvPr/>
        </p:nvSpPr>
        <p:spPr>
          <a:xfrm>
            <a:off x="1125808" y="3854785"/>
            <a:ext cx="6487104" cy="7150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0" kern="1200" baseline="0">
                <a:solidFill>
                  <a:schemeClr val="bg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9911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9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5 -</a:t>
            </a:r>
            <a:br>
              <a:rPr lang="en-IE" sz="3600">
                <a:solidFill>
                  <a:schemeClr val="tx2"/>
                </a:solidFill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Additional DSD conversation – Example CS Queri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199" y="1530410"/>
            <a:ext cx="10375611" cy="505919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b="0">
                <a:solidFill>
                  <a:srgbClr val="000000"/>
                </a:solidFill>
                <a:effectLst/>
                <a:latin typeface="IBMPlexMono,  Courier New"/>
              </a:rPr>
              <a:t>Example Queries </a:t>
            </a:r>
            <a:r>
              <a:rPr lang="en-US" sz="1600">
                <a:solidFill>
                  <a:srgbClr val="000000"/>
                </a:solidFill>
                <a:latin typeface="IBMPlexMono,  Courier New"/>
              </a:rPr>
              <a:t>using country SE: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300">
                <a:solidFill>
                  <a:srgbClr val="000000"/>
                </a:solidFill>
                <a:latin typeface="IBMPlexMono,  Courier New"/>
              </a:rPr>
              <a:t>EB1: </a:t>
            </a:r>
            <a:r>
              <a:rPr lang="en-US" sz="1300" b="0" i="0">
                <a:solidFill>
                  <a:srgbClr val="212121"/>
                </a:solidFill>
                <a:effectLst/>
                <a:latin typeface="Inter"/>
                <a:hlinkClick r:id="rId7"/>
              </a:rPr>
              <a:t>https://projectathon.oots-common-services.eu/query/eb/rest/search?queryId=urn:fdc:oots:eb:ebxml-regrep:queries:requirements-by-procedure-and-jurisdiction&amp;procedure-id=V1&amp;country-code=SE</a:t>
            </a:r>
            <a:endParaRPr lang="en-US" sz="1300" b="0" i="0">
              <a:solidFill>
                <a:srgbClr val="000000"/>
              </a:solidFill>
              <a:effectLst/>
              <a:latin typeface="IBMPlexMono,  Courier New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300">
                <a:solidFill>
                  <a:srgbClr val="000000"/>
                </a:solidFill>
                <a:latin typeface="IBMPlexMono,  Courier New"/>
              </a:rPr>
              <a:t>EB2: </a:t>
            </a:r>
            <a:r>
              <a:rPr lang="en-US" sz="1300" b="0" i="0">
                <a:solidFill>
                  <a:srgbClr val="212121"/>
                </a:solidFill>
                <a:effectLst/>
                <a:latin typeface="Inter"/>
                <a:hlinkClick r:id="rId8"/>
              </a:rPr>
              <a:t>https://projectathon.oots-common-services.eu/query/eb/rest/search?queryId=urn:fdc:oots:eb:ebxml-regrep:queries:evidence-types-by-requirement-and-jurisdiction&amp;country-code=SE&amp;requirement-id=https://sr.oots.tech.europa.eu/requirements/1e0372b7-8343-4560-8f84-adb5eec410d6</a:t>
            </a:r>
            <a:endParaRPr lang="en-US" sz="1300" i="0">
              <a:solidFill>
                <a:srgbClr val="000000"/>
              </a:solidFill>
              <a:latin typeface="IBMPlexMono,  Courier New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300" b="0" i="0">
                <a:solidFill>
                  <a:srgbClr val="212121"/>
                </a:solidFill>
                <a:effectLst/>
                <a:latin typeface="Inter"/>
              </a:rPr>
              <a:t>DSD Dialogue 1: </a:t>
            </a:r>
            <a:r>
              <a:rPr lang="en-US" sz="1300" b="0" i="0">
                <a:solidFill>
                  <a:srgbClr val="212121"/>
                </a:solidFill>
                <a:effectLst/>
                <a:latin typeface="Inter"/>
                <a:hlinkClick r:id="rId9"/>
              </a:rPr>
              <a:t>https://projectathon.oots-common-services.eu/query/dsd/rest/search?queryId=urn:fdc:oots:dsd:ebxml-regrep:queries:dataservices-by-evidencetype-and-jurisdiction&amp;country-code=SE&amp;evidence-type-classification=https://sr.oots.tech.europa.eu/evidencetypeclassifications/EU/d080dc98-46ae-4a00-a5f7-b54da000457a</a:t>
            </a:r>
            <a:endParaRPr lang="en-US" sz="1300" b="0" i="0">
              <a:solidFill>
                <a:srgbClr val="212121"/>
              </a:solidFill>
              <a:effectLst/>
              <a:latin typeface="Inter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300">
                <a:solidFill>
                  <a:srgbClr val="212121"/>
                </a:solidFill>
                <a:latin typeface="Inter"/>
              </a:rPr>
              <a:t>DSD Dialogue 2: </a:t>
            </a:r>
            <a:r>
              <a:rPr lang="en-US" sz="1300" b="0" i="0">
                <a:solidFill>
                  <a:srgbClr val="212121"/>
                </a:solidFill>
                <a:effectLst/>
                <a:latin typeface="Inter"/>
                <a:hlinkClick r:id="rId10"/>
              </a:rPr>
              <a:t>https://projectathon.oots-common-services.eu/query/dsd/rest/search?queryId=urn:fdc:oots:dsd:ebxml-regrep:queries:dataservices-by-evidencetype-and-jurisdiction&amp;country-code=SE&amp;evidence-type-classification=https://sr.oots.tech.europa.eu/evidencetypeclassifications/EU/d080dc98-46ae-4a00-a5f7-b54da000457a&amp;jurisdiction-admin-l2=SE1&amp;evidence-type-id=fa1fdb16-f383-45cb-9e8c-60efad4b253a&amp;jurisdiction-context-id=fab7e562-1c73-44e5-bcae-12f459822dd7</a:t>
            </a:r>
            <a:endParaRPr lang="en-US" sz="1300" b="0" i="0">
              <a:solidFill>
                <a:srgbClr val="212121"/>
              </a:solidFill>
              <a:effectLst/>
              <a:latin typeface="Inter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200" b="0" i="0">
              <a:solidFill>
                <a:srgbClr val="212121"/>
              </a:solidFill>
              <a:effectLst/>
              <a:latin typeface="Inter"/>
            </a:endParaRPr>
          </a:p>
        </p:txBody>
      </p:sp>
    </p:spTree>
    <p:extLst>
      <p:ext uri="{BB962C8B-B14F-4D97-AF65-F5344CB8AC3E}">
        <p14:creationId xmlns:p14="http://schemas.microsoft.com/office/powerpoint/2010/main" val="9177970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4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6 -</a:t>
            </a:r>
            <a:br>
              <a:rPr lang="en-IE" sz="3600"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Evidence request with preview + reauthentication</a:t>
            </a:r>
            <a:endParaRPr lang="en-US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we 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used the same dataset as TC01, but</a:t>
            </a:r>
            <a:endParaRPr lang="en-US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switch on the "</a:t>
            </a:r>
            <a:r>
              <a:rPr lang="en-US" sz="2200" err="1">
                <a:solidFill>
                  <a:srgbClr val="000000"/>
                </a:solidFill>
                <a:latin typeface="EC Square Sans Pro"/>
              </a:rPr>
              <a:t>PossibilityForPreview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" flag from "false" to "true"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use a different identity that triggers reauthentication at EP side</a:t>
            </a:r>
            <a:endParaRPr lang="en-US" sz="2200">
              <a:solidFill>
                <a:srgbClr val="000000"/>
              </a:solidFill>
            </a:endParaRPr>
          </a:p>
          <a:p>
            <a:pPr lvl="3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>
                <a:latin typeface="EC Square Sans Pro"/>
              </a:rPr>
              <a:t>Update &lt;</a:t>
            </a:r>
            <a:r>
              <a:rPr lang="en-US" sz="1600" err="1">
                <a:latin typeface="EC Square Sans Pro"/>
              </a:rPr>
              <a:t>sdg:GivenName</a:t>
            </a:r>
            <a:r>
              <a:rPr lang="en-US" sz="1600">
                <a:latin typeface="EC Square Sans Pro"/>
              </a:rPr>
              <a:t>&gt; from "Jack" to "Jonas" 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>
                <a:latin typeface="EC Square Sans Pro"/>
              </a:rPr>
              <a:t>Update &lt;</a:t>
            </a:r>
            <a:r>
              <a:rPr lang="en-US" sz="1600" err="1">
                <a:latin typeface="EC Square Sans Pro"/>
              </a:rPr>
              <a:t>sdg:Identifier</a:t>
            </a:r>
            <a:r>
              <a:rPr lang="en-US" sz="1600">
                <a:latin typeface="EC Square Sans Pro"/>
              </a:rPr>
              <a:t>&gt; from DE/DE/12345678</a:t>
            </a:r>
            <a:r>
              <a:rPr lang="en-US" sz="1600" u="sng">
                <a:latin typeface="EC Square Sans Pro"/>
              </a:rPr>
              <a:t>9</a:t>
            </a:r>
            <a:r>
              <a:rPr lang="en-US" sz="1600">
                <a:latin typeface="EC Square Sans Pro"/>
              </a:rPr>
              <a:t> to DE/DE/12345678</a:t>
            </a:r>
            <a:r>
              <a:rPr lang="en-US" sz="1600" u="sng">
                <a:latin typeface="EC Square Sans Pro"/>
              </a:rPr>
              <a:t>7</a:t>
            </a:r>
            <a:endParaRPr lang="en-US"/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Unlike TC01 where there is no preview, in TC06, the Evidence Provider will first respond with </a:t>
            </a:r>
            <a:r>
              <a:rPr lang="en-US" sz="2200">
                <a:latin typeface="EC Square Sans Pro"/>
              </a:rPr>
              <a:t>TC06_Response_1, containing the Preview link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Then the Evidence Requester can make a new Evidence Request </a:t>
            </a:r>
            <a:r>
              <a:rPr lang="en-US" sz="2200">
                <a:latin typeface="EC Square Sans Pro"/>
              </a:rPr>
              <a:t>TC06_Request_2 and the Evidence Provider can respond with the actual evidence in TC06_Response_2 (after the user successfully completes/accepts the preview)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2488471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79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7 -</a:t>
            </a:r>
            <a:br>
              <a:rPr lang="en-IE" sz="3600">
                <a:latin typeface="EC Square Sans Pro"/>
              </a:rPr>
            </a:br>
            <a:r>
              <a:rPr lang="en-US" sz="3600">
                <a:solidFill>
                  <a:schemeClr val="tx2"/>
                </a:solidFill>
                <a:latin typeface="EC Square Sans Pro"/>
              </a:rPr>
              <a:t>Preview and reauthentication at two different EP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we used</a:t>
            </a:r>
            <a:endParaRPr lang="en-US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solidFill>
                  <a:srgbClr val="000000"/>
                </a:solidFill>
                <a:latin typeface="EC Square Sans Pro"/>
              </a:rPr>
              <a:t>Use 2 requirements for the procedure, each leading to a different EP</a:t>
            </a:r>
          </a:p>
          <a:p>
            <a:pPr lvl="3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>
                <a:solidFill>
                  <a:srgbClr val="000000"/>
                </a:solidFill>
                <a:latin typeface="EC Square Sans Pro"/>
              </a:rPr>
              <a:t>E.g. apply for a master study and require both a bachelor diploma and a secondary school diploma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 use the same identity as in TC01 to keep things simple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2841503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4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8 -</a:t>
            </a:r>
            <a:br>
              <a:rPr lang="en-IE" sz="3600"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Evidence request with preview rejection by user + reauthentication</a:t>
            </a:r>
            <a:endParaRPr lang="en-US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648943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we 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used the same dataset as TC06, but</a:t>
            </a:r>
            <a:endParaRPr lang="en-US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The</a:t>
            </a:r>
            <a:r>
              <a:rPr lang="en-US" sz="2200">
                <a:latin typeface="EC Square Sans Pro"/>
              </a:rPr>
              <a:t> user will reject the evidence during the preview at Evidence Provider side</a:t>
            </a:r>
            <a:endParaRPr lang="en-US" sz="2200"/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Resultingly, the </a:t>
            </a:r>
            <a:r>
              <a:rPr lang="en-US" sz="2200">
                <a:latin typeface="EC Square Sans Pro"/>
              </a:rPr>
              <a:t>TC08_Response_2 message is an Evidence Response, with an empty registry object list (instead of the actual evidence like in TC06)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2929961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88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9 -</a:t>
            </a:r>
            <a:br>
              <a:rPr lang="en-IE" sz="3600"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Evidence request with </a:t>
            </a:r>
            <a:r>
              <a:rPr lang="en-US" sz="3600">
                <a:solidFill>
                  <a:schemeClr val="tx2"/>
                </a:solidFill>
                <a:latin typeface="EC Square Sans Pro"/>
              </a:rPr>
              <a:t>preview error (closure or timeout)</a:t>
            </a:r>
            <a:r>
              <a:rPr lang="en-IE" sz="3600">
                <a:solidFill>
                  <a:schemeClr val="tx2"/>
                </a:solidFill>
                <a:latin typeface="EC Square Sans Pro"/>
              </a:rPr>
              <a:t> + reauthentication</a:t>
            </a:r>
            <a:endParaRPr lang="en-US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648943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we 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used the same dataset as TC06, but</a:t>
            </a:r>
            <a:endParaRPr lang="en-US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The</a:t>
            </a:r>
            <a:r>
              <a:rPr lang="en-US" sz="2200">
                <a:latin typeface="EC Square Sans Pro"/>
              </a:rPr>
              <a:t> user stays idle in the preview space at Evidence Provider side, resulting in a timeout without stating whether the evidence can be used</a:t>
            </a:r>
            <a:endParaRPr lang="en-US" sz="2200"/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Resultingly, the </a:t>
            </a:r>
            <a:r>
              <a:rPr lang="en-US" sz="2200">
                <a:latin typeface="EC Square Sans Pro"/>
              </a:rPr>
              <a:t>TC09_Response_2 message is an Evidence Response, with a </a:t>
            </a:r>
            <a:r>
              <a:rPr lang="en-US" sz="2200" err="1">
                <a:latin typeface="EC Square Sans Pro"/>
              </a:rPr>
              <a:t>QueryResponseError</a:t>
            </a:r>
            <a:r>
              <a:rPr lang="en-US" sz="2200">
                <a:latin typeface="EC Square Sans Pro"/>
              </a:rPr>
              <a:t> response with a </a:t>
            </a:r>
            <a:r>
              <a:rPr lang="en-US" sz="2200" err="1">
                <a:latin typeface="EC Square Sans Pro"/>
              </a:rPr>
              <a:t>TimeoutExceptionType</a:t>
            </a:r>
            <a:r>
              <a:rPr lang="en-US" sz="2200">
                <a:latin typeface="EC Square Sans Pro"/>
              </a:rPr>
              <a:t> (instead of the actual evidence like in TC06)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8024497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3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10 -</a:t>
            </a:r>
            <a:br>
              <a:rPr lang="en-IE" sz="3600">
                <a:latin typeface="EC Square Sans Pro"/>
              </a:rPr>
            </a:br>
            <a:r>
              <a:rPr lang="en-US" sz="3600">
                <a:solidFill>
                  <a:schemeClr val="tx2"/>
                </a:solidFill>
                <a:latin typeface="EC Square Sans Pro"/>
              </a:rPr>
              <a:t>Preview including human readable transformatio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Here</a:t>
            </a:r>
            <a:r>
              <a:rPr lang="en-US" sz="2200">
                <a:latin typeface="EC Square Sans Pro"/>
              </a:rPr>
              <a:t> 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we proposed to create a different data set (including EB and DSD data), that leads to an XML evidence instead of a PDF evidence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We provided a sample XML evidence and a related XSL to transform that XML to HTML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We</a:t>
            </a:r>
            <a:r>
              <a:rPr lang="en-US" sz="2200">
                <a:solidFill>
                  <a:srgbClr val="000000"/>
                </a:solidFill>
                <a:latin typeface="EC Square Sans Pro"/>
              </a:rPr>
              <a:t> proposed to use a same identity as in TC01 to keep things simple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This dataset will be prepared based on the Evidence Providers that indicate that they can apply a human readable transformation to an XML evidence in the preview area</a:t>
            </a:r>
          </a:p>
          <a:p>
            <a:pPr marL="914400" lvl="2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800">
                <a:latin typeface="EC Square Sans Pro"/>
              </a:rPr>
              <a:t>-&gt; As no Evidence Provider indicated that their Preview Space can perform the transformation and/or display of this type of evidence, the data set is not configured or shared</a:t>
            </a:r>
            <a:endParaRPr lang="en-US" sz="1800"/>
          </a:p>
          <a:p>
            <a:pPr marL="914400" lvl="2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800">
                <a:latin typeface="EC Square Sans Pro"/>
              </a:rPr>
              <a:t>-&gt; In case this would anyway be needed, let us know and we will configure and share the data set</a:t>
            </a:r>
          </a:p>
        </p:txBody>
      </p:sp>
    </p:spTree>
    <p:extLst>
      <p:ext uri="{BB962C8B-B14F-4D97-AF65-F5344CB8AC3E}">
        <p14:creationId xmlns:p14="http://schemas.microsoft.com/office/powerpoint/2010/main" val="24844466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61190-0011-472E-9FCA-1D7032DB7E1D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EC Square Sans Pro"/>
              </a:rPr>
              <a:t>Further questions?</a:t>
            </a:r>
            <a:endParaRPr lang="en-US" sz="10000">
              <a:latin typeface="EC Square Sans Pro"/>
            </a:endParaRPr>
          </a:p>
          <a:p>
            <a:endParaRPr lang="en-US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2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EC Square Sans Pro"/>
              </a:rPr>
              <a:t>We’re here for you at</a:t>
            </a:r>
          </a:p>
          <a:p>
            <a:r>
              <a:rPr lang="en-US">
                <a:latin typeface="EC Square Sans Pro"/>
                <a:hlinkClick r:id="rId2"/>
              </a:rPr>
              <a:t>EC-OOTS-SUPPORT@ec.europa.eu</a:t>
            </a:r>
          </a:p>
        </p:txBody>
      </p:sp>
    </p:spTree>
    <p:extLst>
      <p:ext uri="{BB962C8B-B14F-4D97-AF65-F5344CB8AC3E}">
        <p14:creationId xmlns:p14="http://schemas.microsoft.com/office/powerpoint/2010/main" val="1331046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1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 err="1">
                <a:solidFill>
                  <a:schemeClr val="tx2"/>
                </a:solidFill>
                <a:latin typeface="EC Square Sans Pro"/>
              </a:rPr>
              <a:t>Projectathon</a:t>
            </a:r>
            <a:r>
              <a:rPr lang="en-IE" sz="3600">
                <a:solidFill>
                  <a:schemeClr val="tx2"/>
                </a:solidFill>
                <a:latin typeface="EC Square Sans Pro"/>
              </a:rPr>
              <a:t> preparation: Access to Common Services management GUI</a:t>
            </a:r>
            <a:endParaRPr lang="en-US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403410"/>
            <a:ext cx="10239194" cy="5248155"/>
          </a:xfrm>
          <a:prstGeom prst="rect">
            <a:avLst/>
          </a:prstGeom>
        </p:spPr>
        <p:txBody>
          <a:bodyPr vert="horz" lIns="0" tIns="0" rIns="0" bIns="0" rtlCol="0" anchor="t">
            <a:normAutofit lnSpcReduction="10000"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600">
                <a:solidFill>
                  <a:srgbClr val="000000"/>
                </a:solidFill>
                <a:latin typeface="EC Square Sans Pro"/>
              </a:rPr>
              <a:t>Preparatory Test Case PTC19 is about getting access to the Common Services management GUI</a:t>
            </a:r>
            <a:endParaRPr lang="en-US" sz="2600">
              <a:solidFill>
                <a:srgbClr val="000000"/>
              </a:solidFill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600">
                <a:solidFill>
                  <a:srgbClr val="000000"/>
                </a:solidFill>
                <a:latin typeface="EC Square Sans Pro"/>
              </a:rPr>
              <a:t>The Common Service team is now making available these connections</a:t>
            </a:r>
            <a:endParaRPr lang="en-IE" sz="2600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600">
                <a:solidFill>
                  <a:srgbClr val="000000"/>
                </a:solidFill>
                <a:latin typeface="EC Square Sans Pro"/>
              </a:rPr>
              <a:t>Please note that authentication is based on the ACCEPTANCE instance of </a:t>
            </a:r>
            <a:r>
              <a:rPr lang="en-IE" sz="2600" err="1">
                <a:solidFill>
                  <a:srgbClr val="000000"/>
                </a:solidFill>
                <a:latin typeface="EC Square Sans Pro"/>
              </a:rPr>
              <a:t>EULogin</a:t>
            </a:r>
            <a:endParaRPr lang="en-IE" sz="26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200">
                <a:solidFill>
                  <a:srgbClr val="000000"/>
                </a:solidFill>
                <a:latin typeface="EC Square Sans Pro"/>
              </a:rPr>
              <a:t>You must log in with your ACCEPTANCE </a:t>
            </a:r>
            <a:r>
              <a:rPr lang="en-IE" sz="2200" err="1">
                <a:solidFill>
                  <a:srgbClr val="000000"/>
                </a:solidFill>
                <a:latin typeface="EC Square Sans Pro"/>
              </a:rPr>
              <a:t>EULogin</a:t>
            </a:r>
            <a:r>
              <a:rPr lang="en-IE" sz="2200">
                <a:solidFill>
                  <a:srgbClr val="000000"/>
                </a:solidFill>
                <a:latin typeface="EC Square Sans Pro"/>
              </a:rPr>
              <a:t> username</a:t>
            </a:r>
            <a:endParaRPr lang="en-IE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200">
                <a:solidFill>
                  <a:srgbClr val="000000"/>
                </a:solidFill>
                <a:latin typeface="EC Square Sans Pro"/>
              </a:rPr>
              <a:t>If you already had one, but this one was inactive, you will get a request to perform '</a:t>
            </a:r>
            <a:r>
              <a:rPr lang="en-IE" sz="2200">
                <a:latin typeface="EC Square Sans Pro"/>
              </a:rPr>
              <a:t>ACCEPTANCE EU Login Password Initialisation</a:t>
            </a:r>
            <a:r>
              <a:rPr lang="en-IE" sz="2200">
                <a:solidFill>
                  <a:srgbClr val="000000"/>
                </a:solidFill>
                <a:latin typeface="EC Square Sans Pro"/>
              </a:rPr>
              <a:t>'</a:t>
            </a:r>
            <a:endParaRPr lang="en-IE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200">
                <a:solidFill>
                  <a:srgbClr val="000000"/>
                </a:solidFill>
                <a:latin typeface="EC Square Sans Pro"/>
              </a:rPr>
              <a:t>If you did not yet have one, you can register via </a:t>
            </a:r>
            <a:r>
              <a:rPr lang="en-IE" sz="2200">
                <a:latin typeface="EC Square Sans Pro"/>
              </a:rPr>
              <a:t>https://ecas.acceptance.ec.europa.eu/cas/login</a:t>
            </a:r>
            <a:endParaRPr lang="en-IE" sz="220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200">
                <a:solidFill>
                  <a:srgbClr val="000000"/>
                </a:solidFill>
                <a:latin typeface="EC Square Sans Pro"/>
              </a:rPr>
              <a:t>After you select a new password you will get access to the CS GUI</a:t>
            </a:r>
            <a:endParaRPr lang="en-IE" sz="2200">
              <a:solidFill>
                <a:srgbClr val="000000"/>
              </a:solidFill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200">
                <a:solidFill>
                  <a:srgbClr val="000000"/>
                </a:solidFill>
                <a:latin typeface="EC Square Sans Pro"/>
              </a:rPr>
              <a:t>In case of any issue, </a:t>
            </a:r>
            <a:r>
              <a:rPr lang="en-IE" sz="2200">
                <a:solidFill>
                  <a:srgbClr val="000000"/>
                </a:solidFill>
                <a:latin typeface="EC Square Sans Pro"/>
                <a:hlinkClick r:id="rId7"/>
              </a:rPr>
              <a:t>contact us</a:t>
            </a:r>
            <a:endParaRPr lang="en-IE" sz="2200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IE" sz="2600">
              <a:solidFill>
                <a:srgbClr val="000000"/>
              </a:solidFill>
            </a:endParaRPr>
          </a:p>
          <a:p>
            <a:pPr marL="1371600" lvl="3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IE" sz="20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42516442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6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 err="1">
                <a:solidFill>
                  <a:schemeClr val="tx2"/>
                </a:solidFill>
                <a:latin typeface="EC Square Sans Pro"/>
              </a:rPr>
              <a:t>Projectathon</a:t>
            </a:r>
            <a:r>
              <a:rPr lang="en-IE" sz="3600">
                <a:solidFill>
                  <a:schemeClr val="tx2"/>
                </a:solidFill>
                <a:latin typeface="EC Square Sans Pro"/>
              </a:rPr>
              <a:t> preparation: Connectivity testing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403410"/>
            <a:ext cx="10239194" cy="52481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600">
                <a:solidFill>
                  <a:srgbClr val="000000"/>
                </a:solidFill>
                <a:latin typeface="EC Square Sans Pro"/>
              </a:rPr>
              <a:t>Are there any open questions related to Connectivity testing?</a:t>
            </a:r>
            <a:endParaRPr lang="en-US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600">
                <a:solidFill>
                  <a:srgbClr val="000000"/>
                </a:solidFill>
                <a:latin typeface="EC Square Sans Pro"/>
              </a:rPr>
              <a:t>Is everyone connected to the public internet with a stable IP?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600">
                <a:solidFill>
                  <a:srgbClr val="000000"/>
                </a:solidFill>
                <a:latin typeface="EC Square Sans Pro"/>
              </a:rPr>
              <a:t>Is everyone that is supposed to receive incoming connections available to receive all connections or does anyone need to whitelist other IPs from other test participants?</a:t>
            </a:r>
            <a:endParaRPr lang="en-IE" sz="2600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E" sz="2600">
                <a:solidFill>
                  <a:srgbClr val="000000"/>
                </a:solidFill>
                <a:latin typeface="EC Square Sans Pro"/>
              </a:rPr>
              <a:t>In case you are not using the suggested C3/C4 identifiers (</a:t>
            </a:r>
            <a:r>
              <a:rPr lang="en-US" sz="2600">
                <a:latin typeface="EC Square Sans Pro"/>
              </a:rPr>
              <a:t>AP_XX_01 for C3 and BR_XX_01 </a:t>
            </a:r>
            <a:r>
              <a:rPr lang="en-US" sz="2600">
                <a:solidFill>
                  <a:srgbClr val="000000"/>
                </a:solidFill>
                <a:latin typeface="EC Square Sans Pro"/>
              </a:rPr>
              <a:t>for C4</a:t>
            </a:r>
            <a:r>
              <a:rPr lang="en-IE" sz="2600">
                <a:solidFill>
                  <a:srgbClr val="000000"/>
                </a:solidFill>
                <a:latin typeface="EC Square Sans Pro"/>
              </a:rPr>
              <a:t>), we will </a:t>
            </a:r>
            <a:r>
              <a:rPr lang="en-US" sz="2600">
                <a:latin typeface="EC Square Sans Pro"/>
              </a:rPr>
              <a:t>update (or have already done so) the Common Service data for those participants that used another value.</a:t>
            </a:r>
            <a:endParaRPr lang="en-IE" sz="260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In case you still make any changes or in case you detect that the values you are using are not in line with the Common Service data, please </a:t>
            </a:r>
            <a:r>
              <a:rPr lang="en-US" sz="2200">
                <a:solidFill>
                  <a:srgbClr val="000000"/>
                </a:solidFill>
                <a:latin typeface="EC Square Sans Pro"/>
                <a:hlinkClick r:id="rId7"/>
              </a:rPr>
              <a:t>let us know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marL="1371600" lvl="3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IE" sz="2000">
              <a:solidFill>
                <a:srgbClr val="000000"/>
              </a:solidFill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766529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0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sets - statu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403410"/>
            <a:ext cx="10239194" cy="52481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This dataset is available in the </a:t>
            </a:r>
            <a:r>
              <a:rPr lang="en-US" sz="2200">
                <a:solidFill>
                  <a:srgbClr val="000000"/>
                </a:solidFill>
                <a:latin typeface="EC Square Sans Pro"/>
                <a:hlinkClick r:id="rId7"/>
              </a:rPr>
              <a:t>MS Teams Projectathon channel</a:t>
            </a:r>
            <a:endParaRPr lang="en-US" sz="2200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Those MSs that want to go further and create custom datasets can do so</a:t>
            </a:r>
            <a:endParaRPr lang="en-US"/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They can then first focus on getting the baseline tests working during the </a:t>
            </a:r>
            <a:r>
              <a:rPr lang="en-US" sz="1800" err="1">
                <a:latin typeface="EC Square Sans Pro"/>
              </a:rPr>
              <a:t>Projectathon</a:t>
            </a:r>
            <a:endParaRPr lang="en-US" sz="1800"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In case there is time left and other test partners can support these additional datasets, more advanced testing can be conducted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If someone wants to make use of this option, please inform and involve us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In case there is any additional data or any other related </a:t>
            </a:r>
            <a:r>
              <a:rPr lang="en-US" sz="2200" err="1">
                <a:latin typeface="EC Square Sans Pro"/>
              </a:rPr>
              <a:t>Projectathon</a:t>
            </a:r>
            <a:r>
              <a:rPr lang="en-US" sz="2200">
                <a:latin typeface="EC Square Sans Pro"/>
              </a:rPr>
              <a:t> topic to be discussed, please let us know how we can help you!</a:t>
            </a:r>
            <a:endParaRPr lang="en-US" sz="2200"/>
          </a:p>
        </p:txBody>
      </p:sp>
    </p:spTree>
    <p:extLst>
      <p:ext uri="{BB962C8B-B14F-4D97-AF65-F5344CB8AC3E}">
        <p14:creationId xmlns:p14="http://schemas.microsoft.com/office/powerpoint/2010/main" val="31226502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45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baseline TC01 -</a:t>
            </a:r>
            <a:br>
              <a:rPr lang="en-IE" sz="3600"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Basic evidence request without preview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 defined a TC01 baseline that will be re-used as much a possible across the Test Cases</a:t>
            </a:r>
            <a:endParaRPr lang="en-US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It is based on a pre-defined Identity that all Evidence Requesters and Evidence Providers need to support in the April </a:t>
            </a:r>
            <a:r>
              <a:rPr lang="en-US" sz="2200" err="1">
                <a:latin typeface="EC Square Sans Pro"/>
              </a:rPr>
              <a:t>Projectathon</a:t>
            </a:r>
            <a:endParaRPr lang="en-US" err="1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It is based on Common Service data (EB and DSD data) that is pre-configured for all participants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The sample covers both an Evidence Request and Evidence Response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The metadata of the Evidence is available in the Evidence Response message, you can choose a PDF file that you will attach as actual evidence (e.g. a PDF file with a flag of your country)</a:t>
            </a:r>
          </a:p>
        </p:txBody>
      </p:sp>
    </p:spTree>
    <p:extLst>
      <p:ext uri="{BB962C8B-B14F-4D97-AF65-F5344CB8AC3E}">
        <p14:creationId xmlns:p14="http://schemas.microsoft.com/office/powerpoint/2010/main" val="30196524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0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2 -</a:t>
            </a:r>
            <a:br>
              <a:rPr lang="en-IE" sz="3600">
                <a:solidFill>
                  <a:schemeClr val="tx2"/>
                </a:solidFill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Basic evidence request without evidence match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 will use the TC01 baseline and only update the Identity data in the request to ensure there is no evidence match at EP side.</a:t>
            </a:r>
            <a:endParaRPr lang="en-US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Update &lt;</a:t>
            </a:r>
            <a:r>
              <a:rPr lang="en-US" sz="2200" err="1">
                <a:latin typeface="EC Square Sans Pro"/>
              </a:rPr>
              <a:t>sdg:GivenName</a:t>
            </a:r>
            <a:r>
              <a:rPr lang="en-US" sz="2200">
                <a:latin typeface="EC Square Sans Pro"/>
              </a:rPr>
              <a:t>&gt; from "Jack" to "Jane" </a:t>
            </a:r>
            <a:endParaRPr lang="en-US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Update &lt;</a:t>
            </a:r>
            <a:r>
              <a:rPr lang="en-US" sz="2200" err="1">
                <a:latin typeface="EC Square Sans Pro"/>
              </a:rPr>
              <a:t>sdg:Identifier</a:t>
            </a:r>
            <a:r>
              <a:rPr lang="en-US" sz="2200">
                <a:latin typeface="EC Square Sans Pro"/>
              </a:rPr>
              <a:t>&gt; from DE/DE/12345678</a:t>
            </a:r>
            <a:r>
              <a:rPr lang="en-US" sz="2200" u="sng">
                <a:latin typeface="EC Square Sans Pro"/>
              </a:rPr>
              <a:t>9</a:t>
            </a:r>
            <a:r>
              <a:rPr lang="en-US" sz="2200">
                <a:latin typeface="EC Square Sans Pro"/>
              </a:rPr>
              <a:t> to DE/DE/12345678</a:t>
            </a:r>
            <a:r>
              <a:rPr lang="en-US" sz="2200" u="sng">
                <a:latin typeface="EC Square Sans Pro"/>
              </a:rPr>
              <a:t>8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2200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We also provide you with a sample Evidence Response (with an empty registry object list)</a:t>
            </a:r>
          </a:p>
        </p:txBody>
      </p:sp>
    </p:spTree>
    <p:extLst>
      <p:ext uri="{BB962C8B-B14F-4D97-AF65-F5344CB8AC3E}">
        <p14:creationId xmlns:p14="http://schemas.microsoft.com/office/powerpoint/2010/main" val="38151507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5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response variation for TC03 -</a:t>
            </a:r>
            <a:br>
              <a:rPr lang="en-IE" sz="3600">
                <a:latin typeface="EC Square Sans Pro"/>
              </a:rPr>
            </a:br>
            <a:r>
              <a:rPr lang="en-US" sz="3600">
                <a:solidFill>
                  <a:schemeClr val="tx2"/>
                </a:solidFill>
                <a:latin typeface="EC Square Sans Pro"/>
              </a:rPr>
              <a:t>Evidence request error flow - Base Registry error</a:t>
            </a:r>
            <a:endParaRPr lang="en-IE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 will use the TC01 baseline and keep the same data for the Evidence Request</a:t>
            </a:r>
            <a:endParaRPr lang="en-US" sz="2200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However, the Evidence Response is different, due to the Base Registry error, so we will provide you with 2 alternative sample Evidence Responses containing an exception</a:t>
            </a:r>
            <a:endParaRPr lang="en-US"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TC03_Response_alt1_timeout_in_connection_to_base_registry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>
                <a:latin typeface="EC Square Sans Pro"/>
              </a:rPr>
              <a:t>TC03_Response_alt2_error_in_connection_to_base_registry</a:t>
            </a:r>
          </a:p>
        </p:txBody>
      </p:sp>
    </p:spTree>
    <p:extLst>
      <p:ext uri="{BB962C8B-B14F-4D97-AF65-F5344CB8AC3E}">
        <p14:creationId xmlns:p14="http://schemas.microsoft.com/office/powerpoint/2010/main" val="30373370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0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response variation for TC04 -</a:t>
            </a:r>
            <a:br>
              <a:rPr lang="en-IE" sz="3600">
                <a:latin typeface="EC Square Sans Pro"/>
              </a:rPr>
            </a:br>
            <a:r>
              <a:rPr lang="en-US" sz="3600">
                <a:solidFill>
                  <a:schemeClr val="tx2"/>
                </a:solidFill>
                <a:latin typeface="EC Square Sans Pro"/>
              </a:rPr>
              <a:t>Evidence request error flow due to Access Point error</a:t>
            </a:r>
            <a:endParaRPr lang="en-IE" sz="3600">
              <a:solidFill>
                <a:schemeClr val="tx2"/>
              </a:solidFill>
              <a:latin typeface="EC Square Sans Pro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200" y="1530410"/>
            <a:ext cx="10239194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 will use the TC01 baseline and keep the same data for the Evidence Request</a:t>
            </a:r>
            <a:endParaRPr lang="en-US" sz="2200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However, there will be NO Evidence Response as the Access Point at Evidence Provider side is down</a:t>
            </a:r>
            <a:endParaRPr lang="en-US">
              <a:latin typeface="EC Square Sans Pro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Resultingly the Access Point at Procedure Portal side generates an </a:t>
            </a:r>
            <a:r>
              <a:rPr lang="en-US" sz="2200" err="1">
                <a:latin typeface="EC Square Sans Pro"/>
              </a:rPr>
              <a:t>eDelivery</a:t>
            </a:r>
            <a:r>
              <a:rPr lang="en-US" sz="2200">
                <a:latin typeface="EC Square Sans Pro"/>
              </a:rPr>
              <a:t> error (from C2 to C1) to be sent to the Procedure Portal</a:t>
            </a:r>
          </a:p>
          <a:p>
            <a:pPr marL="457200" lvl="1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2200"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8702164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6F42-3900-42E8-B4FF-612576328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4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6F42-3900-42E8-B4FF-612576328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61190-0011-472E-9FCA-1D7032DB7E1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183A66"/>
                </a:solidFill>
                <a:effectLst/>
                <a:uLnTx/>
                <a:uFillTx/>
                <a:latin typeface="EC Square Sans Pro" panose="020B050604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83A66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IE" sz="3600">
                <a:solidFill>
                  <a:schemeClr val="tx2"/>
                </a:solidFill>
                <a:latin typeface="EC Square Sans Pro"/>
              </a:rPr>
              <a:t>Test data variation for TC05 -</a:t>
            </a:r>
            <a:br>
              <a:rPr lang="en-IE" sz="3600">
                <a:solidFill>
                  <a:schemeClr val="tx2"/>
                </a:solidFill>
                <a:latin typeface="EC Square Sans Pro"/>
              </a:rPr>
            </a:br>
            <a:r>
              <a:rPr lang="en-IE" sz="3600">
                <a:solidFill>
                  <a:schemeClr val="tx2"/>
                </a:solidFill>
                <a:latin typeface="EC Square Sans Pro"/>
              </a:rPr>
              <a:t>Additional DSD conversatio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F0F8E9-D5AA-B587-848F-F67992F3C345}"/>
              </a:ext>
            </a:extLst>
          </p:cNvPr>
          <p:cNvSpPr txBox="1">
            <a:spLocks/>
          </p:cNvSpPr>
          <p:nvPr/>
        </p:nvSpPr>
        <p:spPr>
          <a:xfrm>
            <a:off x="1143000" y="1741488"/>
            <a:ext cx="10515600" cy="4572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636365"/>
              </a:solidFill>
              <a:effectLst/>
              <a:uLnTx/>
              <a:uFillTx/>
              <a:latin typeface="EC Square Sans Pro" panose="020B0506040000020004" pitchFamily="34" charset="0"/>
              <a:ea typeface="+mn-ea"/>
              <a:cs typeface="+mn-cs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81624A7-C8D8-4F22-B4CD-101B877CAB37}"/>
              </a:ext>
            </a:extLst>
          </p:cNvPr>
          <p:cNvSpPr txBox="1">
            <a:spLocks/>
          </p:cNvSpPr>
          <p:nvPr/>
        </p:nvSpPr>
        <p:spPr>
          <a:xfrm>
            <a:off x="838199" y="1530410"/>
            <a:ext cx="10415611" cy="4630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kern="1200" baseline="0">
                <a:solidFill>
                  <a:schemeClr val="accent2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EC Square Sans Pro" panose="020B050604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rgbClr val="000000"/>
                </a:solidFill>
                <a:latin typeface="EC Square Sans Pro"/>
              </a:rPr>
              <a:t>We propose to use the DSD conversation variation presented in slides 51 to 53 in the presentation attached to the </a:t>
            </a:r>
            <a:r>
              <a:rPr lang="en-US" sz="2200">
                <a:solidFill>
                  <a:srgbClr val="000000"/>
                </a:solidFill>
                <a:latin typeface="EC Square Sans Pro"/>
                <a:hlinkClick r:id="rId7"/>
              </a:rPr>
              <a:t>kick-off meeting</a:t>
            </a:r>
            <a:endParaRPr lang="en-US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latin typeface="EC Square Sans Pro"/>
              </a:rPr>
              <a:t>The following values can now be used for the DSD Conversation</a:t>
            </a:r>
            <a:endParaRPr lang="en-US" sz="2200">
              <a:solidFill>
                <a:srgbClr val="000000"/>
              </a:solidFill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rgbClr val="000000"/>
                </a:solidFill>
                <a:latin typeface="EC Square Sans Pro"/>
              </a:rPr>
              <a:t>Procedure Id: V1 (Registering a change of Address)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rgbClr val="000000"/>
                </a:solidFill>
                <a:latin typeface="EC Square Sans Pro"/>
              </a:rPr>
              <a:t>Requirement Id: </a:t>
            </a:r>
            <a:r>
              <a:rPr lang="en-US" sz="1400" b="0">
                <a:solidFill>
                  <a:srgbClr val="000000"/>
                </a:solidFill>
                <a:effectLst/>
                <a:latin typeface="IBMPlexMono,  Courier New"/>
                <a:hlinkClick r:id="rId8"/>
              </a:rPr>
              <a:t>https://sr.oots.tech.europa.eu/requirements/1e0372b7-8343-4560-8f84-adb5eec410d6</a:t>
            </a:r>
            <a:br>
              <a:rPr lang="en-US" sz="1400" b="0">
                <a:solidFill>
                  <a:srgbClr val="000000"/>
                </a:solidFill>
                <a:effectLst/>
                <a:latin typeface="IBMPlexMono,  Courier New"/>
              </a:rPr>
            </a:br>
            <a:r>
              <a:rPr lang="en-US" sz="1400" b="0">
                <a:solidFill>
                  <a:srgbClr val="000000"/>
                </a:solidFill>
                <a:effectLst/>
                <a:latin typeface="IBMPlexMono,  Courier New"/>
              </a:rPr>
              <a:t>                             (Proof of Residence)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rgbClr val="000000"/>
                </a:solidFill>
                <a:latin typeface="IBMPlexMono,  Courier New"/>
              </a:rPr>
              <a:t>ET Classification: </a:t>
            </a:r>
            <a:r>
              <a:rPr lang="en-US" sz="1400" b="0">
                <a:solidFill>
                  <a:srgbClr val="000000"/>
                </a:solidFill>
                <a:effectLst/>
                <a:latin typeface="IBMPlexMono,  Courier New"/>
                <a:hlinkClick r:id="rId9"/>
              </a:rPr>
              <a:t>https://sr.oots.tech.europa.eu/evidencetypeclassifications/EU/d080dc98-46ae-4a00-a5f7-b54da000457a</a:t>
            </a:r>
            <a:br>
              <a:rPr lang="en-US" sz="1400" b="0">
                <a:solidFill>
                  <a:srgbClr val="000000"/>
                </a:solidFill>
                <a:effectLst/>
                <a:latin typeface="IBMPlexMono,  Courier New"/>
              </a:rPr>
            </a:br>
            <a:r>
              <a:rPr lang="en-US" sz="1400" b="0">
                <a:solidFill>
                  <a:srgbClr val="000000"/>
                </a:solidFill>
                <a:effectLst/>
                <a:latin typeface="IBMPlexMono,  Courier New"/>
              </a:rPr>
              <a:t>	              (EU-Wide Proof of Residence Certificate) </a:t>
            </a: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>
                <a:solidFill>
                  <a:srgbClr val="000000"/>
                </a:solidFill>
                <a:latin typeface="IBMPlexMono,  Courier New"/>
              </a:rPr>
              <a:t>Jurisdiction Codes: (SE) SE1, (DE) DE1, (EL) EL3, (CY)CY0, (SI) SI0, (IT) ITC, (LV) LV0, (LU) LU0, (AT) AT1, (FI) FI1, (NL) NL1, (PT) PT1                                   (EE) EE0, (IE) IE0, (RO) RO1, (HU) HU1, (LT) LT0</a:t>
            </a:r>
            <a:endParaRPr lang="en-US" sz="1600">
              <a:solidFill>
                <a:srgbClr val="000000"/>
              </a:solidFill>
              <a:latin typeface="IBMPlexMono,  Courier New"/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2200">
              <a:latin typeface="EC Square Sans Pro"/>
            </a:endParaRPr>
          </a:p>
          <a:p>
            <a:pPr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sz="1800">
              <a:latin typeface="EC Squar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221397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(20200224)(CEF slide template)(v1.0)" id="{94F66E90-FCF5-48D0-B082-7E230ED280DD}" vid="{F555CA66-7B34-457E-A2A8-059EBB897834}"/>
    </a:ext>
  </a:extLst>
</a:theme>
</file>

<file path=ppt/theme/theme10.xml><?xml version="1.0" encoding="utf-8"?>
<a:theme xmlns:a="http://schemas.openxmlformats.org/drawingml/2006/main" name="2_Contenu">
  <a:themeElements>
    <a:clrScheme name="KEREVA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30613"/>
      </a:accent1>
      <a:accent2>
        <a:srgbClr val="98192C"/>
      </a:accent2>
      <a:accent3>
        <a:srgbClr val="502059"/>
      </a:accent3>
      <a:accent4>
        <a:srgbClr val="1E9A92"/>
      </a:accent4>
      <a:accent5>
        <a:srgbClr val="223A89"/>
      </a:accent5>
      <a:accent6>
        <a:srgbClr val="C6C6C5"/>
      </a:accent6>
      <a:hlink>
        <a:srgbClr val="0563C1"/>
      </a:hlink>
      <a:folHlink>
        <a:srgbClr val="954F72"/>
      </a:folHlink>
    </a:clrScheme>
    <a:fontScheme name="Personnalisé 3">
      <a:majorFont>
        <a:latin typeface="Comfortaa"/>
        <a:ea typeface=""/>
        <a:cs typeface=""/>
      </a:majorFont>
      <a:minorFont>
        <a:latin typeface="Comforta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alpha val="50000"/>
          </a:schemeClr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N_RESTRICTED-3.03" id="{8DBF5B71-CDC7-4E4B-81E0-8A3D16AA59E1}" vid="{61AA6AFB-3D82-4A99-9C20-D66069E7970F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EF Master Template">
  <a:themeElements>
    <a:clrScheme name="Custom 1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183A66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(20200224)(CEF slide template)(v1.0)" id="{94F66E90-FCF5-48D0-B082-7E230ED280DD}" vid="{F555CA66-7B34-457E-A2A8-059EBB897834}"/>
    </a:ext>
  </a:extLst>
</a:theme>
</file>

<file path=ppt/theme/theme5.xml><?xml version="1.0" encoding="utf-8"?>
<a:theme xmlns:a="http://schemas.openxmlformats.org/drawingml/2006/main" name="3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(EC.Mobile)(IMI)(v2.01)" id="{C7CC8F2D-5B5E-A34E-A5E4-0F9021CE2229}" vid="{2C109B5B-CAA2-E643-8C35-DFB7794F3804}"/>
    </a:ext>
  </a:extLst>
</a:theme>
</file>

<file path=ppt/theme/theme6.xml><?xml version="1.0" encoding="utf-8"?>
<a:theme xmlns:a="http://schemas.openxmlformats.org/drawingml/2006/main" name="6_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CEF Master Template">
  <a:themeElements>
    <a:clrScheme name="Custom 8">
      <a:dk1>
        <a:srgbClr val="000000"/>
      </a:dk1>
      <a:lt1>
        <a:srgbClr val="FFFFFF"/>
      </a:lt1>
      <a:dk2>
        <a:srgbClr val="003C8C"/>
      </a:dk2>
      <a:lt2>
        <a:srgbClr val="FFED00"/>
      </a:lt2>
      <a:accent1>
        <a:srgbClr val="9FC8BA"/>
      </a:accent1>
      <a:accent2>
        <a:srgbClr val="636365"/>
      </a:accent2>
      <a:accent3>
        <a:srgbClr val="5088C5"/>
      </a:accent3>
      <a:accent4>
        <a:srgbClr val="183A66"/>
      </a:accent4>
      <a:accent5>
        <a:srgbClr val="F4CF30"/>
      </a:accent5>
      <a:accent6>
        <a:srgbClr val="CDCDCD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>
            <a:latin typeface="EC Square Sans Pro" panose="020B050604000002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Contenu">
  <a:themeElements>
    <a:clrScheme name="OOHUB">
      <a:dk1>
        <a:srgbClr val="001832"/>
      </a:dk1>
      <a:lt1>
        <a:srgbClr val="FFFFFF"/>
      </a:lt1>
      <a:dk2>
        <a:srgbClr val="3C5979"/>
      </a:dk2>
      <a:lt2>
        <a:srgbClr val="F4F3F2"/>
      </a:lt2>
      <a:accent1>
        <a:srgbClr val="832CB5"/>
      </a:accent1>
      <a:accent2>
        <a:srgbClr val="EC8FFF"/>
      </a:accent2>
      <a:accent3>
        <a:srgbClr val="FBC11D"/>
      </a:accent3>
      <a:accent4>
        <a:srgbClr val="004493"/>
      </a:accent4>
      <a:accent5>
        <a:srgbClr val="5D24A3"/>
      </a:accent5>
      <a:accent6>
        <a:srgbClr val="D234EE"/>
      </a:accent6>
      <a:hlink>
        <a:srgbClr val="832CB5"/>
      </a:hlink>
      <a:folHlink>
        <a:srgbClr val="5D24A3"/>
      </a:folHlink>
    </a:clrScheme>
    <a:fontScheme name="Personnalisé 3">
      <a:majorFont>
        <a:latin typeface="Comfortaa"/>
        <a:ea typeface=""/>
        <a:cs typeface=""/>
      </a:majorFont>
      <a:minorFont>
        <a:latin typeface="Comforta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_RESTREINT-3.03.potx" id="{1FE04B52-301F-40F7-9D2E-71ABD4A830D6}" vid="{E563548A-2E28-422C-A56C-D09867F00B9D}"/>
    </a:ext>
  </a:extLst>
</a:theme>
</file>

<file path=ppt/theme/theme9.xml><?xml version="1.0" encoding="utf-8"?>
<a:theme xmlns:a="http://schemas.openxmlformats.org/drawingml/2006/main" name="1_Contenu">
  <a:themeElements>
    <a:clrScheme name="KEREVA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30613"/>
      </a:accent1>
      <a:accent2>
        <a:srgbClr val="98192C"/>
      </a:accent2>
      <a:accent3>
        <a:srgbClr val="502059"/>
      </a:accent3>
      <a:accent4>
        <a:srgbClr val="1E9A92"/>
      </a:accent4>
      <a:accent5>
        <a:srgbClr val="223A89"/>
      </a:accent5>
      <a:accent6>
        <a:srgbClr val="C6C6C5"/>
      </a:accent6>
      <a:hlink>
        <a:srgbClr val="0563C1"/>
      </a:hlink>
      <a:folHlink>
        <a:srgbClr val="954F72"/>
      </a:folHlink>
    </a:clrScheme>
    <a:fontScheme name="Personnalisé 3">
      <a:majorFont>
        <a:latin typeface="Comfortaa"/>
        <a:ea typeface=""/>
        <a:cs typeface=""/>
      </a:majorFont>
      <a:minorFont>
        <a:latin typeface="Comforta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alpha val="50000"/>
          </a:schemeClr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N_RESTRICTED-3.03" id="{8DBF5B71-CDC7-4E4B-81E0-8A3D16AA59E1}" vid="{61AA6AFB-3D82-4A99-9C20-D66069E7970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af8c89d-4332-4d32-84a3-abf4120a8008" xsi:nil="true"/>
    <lcf76f155ced4ddcb4097134ff3c332f xmlns="9a9637e9-1c11-4ee9-91b8-f060e3608fb2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7B7BFF882854783B2AFEB81A9CCE9" ma:contentTypeVersion="12" ma:contentTypeDescription="Create a new document." ma:contentTypeScope="" ma:versionID="4221af82e752d71e3e2fdf5a570260b8">
  <xsd:schema xmlns:xsd="http://www.w3.org/2001/XMLSchema" xmlns:xs="http://www.w3.org/2001/XMLSchema" xmlns:p="http://schemas.microsoft.com/office/2006/metadata/properties" xmlns:ns2="9a9637e9-1c11-4ee9-91b8-f060e3608fb2" xmlns:ns3="4af8c89d-4332-4d32-84a3-abf4120a8008" targetNamespace="http://schemas.microsoft.com/office/2006/metadata/properties" ma:root="true" ma:fieldsID="273732b32b3d506c21db2ef4d38fb137" ns2:_="" ns3:_="">
    <xsd:import namespace="9a9637e9-1c11-4ee9-91b8-f060e3608fb2"/>
    <xsd:import namespace="4af8c89d-4332-4d32-84a3-abf4120a800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9637e9-1c11-4ee9-91b8-f060e3608f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22b2fad6-9d2c-441c-a321-3f5f1e9bd9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f8c89d-4332-4d32-84a3-abf4120a800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75b2a03-4899-4a6a-9210-69166cdf2eeb}" ma:internalName="TaxCatchAll" ma:showField="CatchAllData" ma:web="4af8c89d-4332-4d32-84a3-abf4120a800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E816B0A-9B73-48F0-A750-B0B25DE89176}">
  <ds:schemaRefs>
    <ds:schemaRef ds:uri="4af8c89d-4332-4d32-84a3-abf4120a8008"/>
    <ds:schemaRef ds:uri="641315ca-0572-423e-bd92-cff020455c2a"/>
    <ds:schemaRef ds:uri="9a9637e9-1c11-4ee9-91b8-f060e3608fb2"/>
    <ds:schemaRef ds:uri="c104a7e3-e0a9-46cf-92ee-9b62dc9a36e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FA89E16-DED6-4178-8807-A017CE09BF21}"/>
</file>

<file path=customXml/itemProps3.xml><?xml version="1.0" encoding="utf-8"?>
<ds:datastoreItem xmlns:ds="http://schemas.openxmlformats.org/officeDocument/2006/customXml" ds:itemID="{59051D72-EA38-4C01-817E-ED935F13A53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6</Slides>
  <Notes>14</Notes>
  <HiddenSlides>0</HiddenSlides>
  <ScaleCrop>false</ScaleCrop>
  <HeadingPairs>
    <vt:vector size="4" baseType="variant">
      <vt:variant>
        <vt:lpstr>Theme</vt:lpstr>
      </vt:variant>
      <vt:variant>
        <vt:i4>10</vt:i4>
      </vt:variant>
      <vt:variant>
        <vt:lpstr>Slide Titles</vt:lpstr>
      </vt:variant>
      <vt:variant>
        <vt:i4>16</vt:i4>
      </vt:variant>
    </vt:vector>
  </HeadingPairs>
  <TitlesOfParts>
    <vt:vector size="26" baseType="lpstr">
      <vt:lpstr>1_CEF Master Template</vt:lpstr>
      <vt:lpstr>2_CEF Master Template</vt:lpstr>
      <vt:lpstr>4_CEF Master Template</vt:lpstr>
      <vt:lpstr>5_CEF Master Template</vt:lpstr>
      <vt:lpstr>3_CEF Master Template</vt:lpstr>
      <vt:lpstr>6_CEF Master Template</vt:lpstr>
      <vt:lpstr>CEF Master Template</vt:lpstr>
      <vt:lpstr>Contenu</vt:lpstr>
      <vt:lpstr>1_Contenu</vt:lpstr>
      <vt:lpstr>2_Contenu</vt:lpstr>
      <vt:lpstr>PowerPoint Presentation</vt:lpstr>
      <vt:lpstr>Projectathon preparation: Access to Common Services management GUI</vt:lpstr>
      <vt:lpstr>Projectathon preparation: Connectivity testing</vt:lpstr>
      <vt:lpstr>Test data sets - status</vt:lpstr>
      <vt:lpstr>Test data baseline TC01 - Basic evidence request without preview</vt:lpstr>
      <vt:lpstr>Test data variation for TC02 - Basic evidence request without evidence match</vt:lpstr>
      <vt:lpstr>Test response variation for TC03 - Evidence request error flow - Base Registry error</vt:lpstr>
      <vt:lpstr>Test response variation for TC04 - Evidence request error flow due to Access Point error</vt:lpstr>
      <vt:lpstr>Test data variation for TC05 - Additional DSD conversation</vt:lpstr>
      <vt:lpstr>Test data variation for TC05 - Additional DSD conversation – Example CS Queries</vt:lpstr>
      <vt:lpstr>Test data variation for TC06 - Evidence request with preview + reauthentication</vt:lpstr>
      <vt:lpstr>Test data variation for TC07 - Preview and reauthentication at two different EPs</vt:lpstr>
      <vt:lpstr>Test data variation for TC08 - Evidence request with preview rejection by user + reauthentication</vt:lpstr>
      <vt:lpstr>Test data variation for TC09 - Evidence request with preview error (closure or timeout) + reauthentication</vt:lpstr>
      <vt:lpstr>Test data variation for TC10 - Preview including human readable transform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rmans, Alexander</dc:creator>
  <cp:revision>1</cp:revision>
  <dcterms:created xsi:type="dcterms:W3CDTF">2022-10-04T17:19:48Z</dcterms:created>
  <dcterms:modified xsi:type="dcterms:W3CDTF">2023-04-12T12:3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10-04T17:19:48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38ea12c7-cee7-485b-b63a-ff707976e532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7697B7BFF882854783B2AFEB81A9CCE9</vt:lpwstr>
  </property>
  <property fmtid="{D5CDD505-2E9C-101B-9397-08002B2CF9AE}" pid="10" name="MediaServiceImageTags">
    <vt:lpwstr/>
  </property>
  <property fmtid="{D5CDD505-2E9C-101B-9397-08002B2CF9AE}" pid="11" name="MSIP_Label_6bd9ddd1-4d20-43f6-abfa-fc3c07406f94_Enabled">
    <vt:lpwstr>true</vt:lpwstr>
  </property>
  <property fmtid="{D5CDD505-2E9C-101B-9397-08002B2CF9AE}" pid="12" name="MSIP_Label_6bd9ddd1-4d20-43f6-abfa-fc3c07406f94_SetDate">
    <vt:lpwstr>2022-11-30T18:19:09Z</vt:lpwstr>
  </property>
  <property fmtid="{D5CDD505-2E9C-101B-9397-08002B2CF9AE}" pid="13" name="MSIP_Label_6bd9ddd1-4d20-43f6-abfa-fc3c07406f94_Method">
    <vt:lpwstr>Standard</vt:lpwstr>
  </property>
  <property fmtid="{D5CDD505-2E9C-101B-9397-08002B2CF9AE}" pid="14" name="MSIP_Label_6bd9ddd1-4d20-43f6-abfa-fc3c07406f94_Name">
    <vt:lpwstr>Commission Use</vt:lpwstr>
  </property>
  <property fmtid="{D5CDD505-2E9C-101B-9397-08002B2CF9AE}" pid="15" name="MSIP_Label_6bd9ddd1-4d20-43f6-abfa-fc3c07406f94_SiteId">
    <vt:lpwstr>b24c8b06-522c-46fe-9080-70926f8dddb1</vt:lpwstr>
  </property>
  <property fmtid="{D5CDD505-2E9C-101B-9397-08002B2CF9AE}" pid="16" name="MSIP_Label_6bd9ddd1-4d20-43f6-abfa-fc3c07406f94_ActionId">
    <vt:lpwstr>bb115c11-364c-4737-8610-2756aa676b7e</vt:lpwstr>
  </property>
  <property fmtid="{D5CDD505-2E9C-101B-9397-08002B2CF9AE}" pid="17" name="MSIP_Label_6bd9ddd1-4d20-43f6-abfa-fc3c07406f94_ContentBits">
    <vt:lpwstr>0</vt:lpwstr>
  </property>
</Properties>
</file>